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6" r:id="rId2"/>
    <p:sldMasterId id="2147483733" r:id="rId3"/>
    <p:sldMasterId id="2147483771" r:id="rId4"/>
    <p:sldMasterId id="2147483784" r:id="rId5"/>
  </p:sldMasterIdLst>
  <p:notesMasterIdLst>
    <p:notesMasterId r:id="rId29"/>
  </p:notesMasterIdLst>
  <p:sldIdLst>
    <p:sldId id="270" r:id="rId6"/>
    <p:sldId id="285" r:id="rId7"/>
    <p:sldId id="286" r:id="rId8"/>
    <p:sldId id="496" r:id="rId9"/>
    <p:sldId id="497" r:id="rId10"/>
    <p:sldId id="498" r:id="rId11"/>
    <p:sldId id="499" r:id="rId12"/>
    <p:sldId id="500" r:id="rId13"/>
    <p:sldId id="501" r:id="rId14"/>
    <p:sldId id="502" r:id="rId15"/>
    <p:sldId id="503" r:id="rId16"/>
    <p:sldId id="504" r:id="rId17"/>
    <p:sldId id="505" r:id="rId18"/>
    <p:sldId id="506" r:id="rId19"/>
    <p:sldId id="507" r:id="rId20"/>
    <p:sldId id="508" r:id="rId21"/>
    <p:sldId id="509" r:id="rId22"/>
    <p:sldId id="511" r:id="rId23"/>
    <p:sldId id="512" r:id="rId24"/>
    <p:sldId id="514" r:id="rId25"/>
    <p:sldId id="510" r:id="rId26"/>
    <p:sldId id="278" r:id="rId27"/>
    <p:sldId id="455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60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8B90"/>
    <a:srgbClr val="CEECD7"/>
    <a:srgbClr val="FFC000"/>
    <a:srgbClr val="7030A0"/>
    <a:srgbClr val="00B0F0"/>
    <a:srgbClr val="92D050"/>
    <a:srgbClr val="FFFFFF"/>
    <a:srgbClr val="C00000"/>
    <a:srgbClr val="00206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7521E2F-4E96-41A0-A791-149FD4B359A9}" v="202" dt="2023-02-28T18:05:44.5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2" autoAdjust="0"/>
    <p:restoredTop sz="75273" autoAdjust="0"/>
  </p:normalViewPr>
  <p:slideViewPr>
    <p:cSldViewPr>
      <p:cViewPr varScale="1">
        <p:scale>
          <a:sx n="104" d="100"/>
          <a:sy n="104" d="100"/>
        </p:scale>
        <p:origin x="120" y="252"/>
      </p:cViewPr>
      <p:guideLst>
        <p:guide orient="horz" pos="2160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na Jones" userId="dd199646-467a-450d-805a-670121e10f03" providerId="ADAL" clId="{D7521E2F-4E96-41A0-A791-149FD4B359A9}"/>
    <pc:docChg chg="undo custSel addSld delSld modSld sldOrd delSection modSection">
      <pc:chgData name="Gina Jones" userId="dd199646-467a-450d-805a-670121e10f03" providerId="ADAL" clId="{D7521E2F-4E96-41A0-A791-149FD4B359A9}" dt="2023-02-28T18:06:24.880" v="4095" actId="120"/>
      <pc:docMkLst>
        <pc:docMk/>
      </pc:docMkLst>
      <pc:sldChg chg="addSp delSp modSp add mod">
        <pc:chgData name="Gina Jones" userId="dd199646-467a-450d-805a-670121e10f03" providerId="ADAL" clId="{D7521E2F-4E96-41A0-A791-149FD4B359A9}" dt="2023-02-28T16:15:05.329" v="2363" actId="20577"/>
        <pc:sldMkLst>
          <pc:docMk/>
          <pc:sldMk cId="1506539542" sldId="270"/>
        </pc:sldMkLst>
        <pc:spChg chg="mod">
          <ac:chgData name="Gina Jones" userId="dd199646-467a-450d-805a-670121e10f03" providerId="ADAL" clId="{D7521E2F-4E96-41A0-A791-149FD4B359A9}" dt="2023-02-28T16:15:05.329" v="2363" actId="20577"/>
          <ac:spMkLst>
            <pc:docMk/>
            <pc:sldMk cId="1506539542" sldId="270"/>
            <ac:spMk id="24" creationId="{17644C62-98A1-A1AE-E564-38E27EBEFAEE}"/>
          </ac:spMkLst>
        </pc:spChg>
        <pc:picChg chg="add mod">
          <ac:chgData name="Gina Jones" userId="dd199646-467a-450d-805a-670121e10f03" providerId="ADAL" clId="{D7521E2F-4E96-41A0-A791-149FD4B359A9}" dt="2023-02-28T15:21:30.532" v="89" actId="14100"/>
          <ac:picMkLst>
            <pc:docMk/>
            <pc:sldMk cId="1506539542" sldId="270"/>
            <ac:picMk id="3" creationId="{721EF51E-0EE6-360E-3907-CE5F3EB5B6A0}"/>
          </ac:picMkLst>
        </pc:picChg>
        <pc:picChg chg="del">
          <ac:chgData name="Gina Jones" userId="dd199646-467a-450d-805a-670121e10f03" providerId="ADAL" clId="{D7521E2F-4E96-41A0-A791-149FD4B359A9}" dt="2023-02-28T15:20:54.097" v="80" actId="478"/>
          <ac:picMkLst>
            <pc:docMk/>
            <pc:sldMk cId="1506539542" sldId="270"/>
            <ac:picMk id="9" creationId="{855C20F3-4B10-927F-40B7-CD238F729992}"/>
          </ac:picMkLst>
        </pc:picChg>
      </pc:sldChg>
      <pc:sldChg chg="ord">
        <pc:chgData name="Gina Jones" userId="dd199646-467a-450d-805a-670121e10f03" providerId="ADAL" clId="{D7521E2F-4E96-41A0-A791-149FD4B359A9}" dt="2023-02-28T15:20:08.381" v="71"/>
        <pc:sldMkLst>
          <pc:docMk/>
          <pc:sldMk cId="1923112964" sldId="278"/>
        </pc:sldMkLst>
      </pc:sldChg>
      <pc:sldChg chg="addSp delSp modSp add mod ord">
        <pc:chgData name="Gina Jones" userId="dd199646-467a-450d-805a-670121e10f03" providerId="ADAL" clId="{D7521E2F-4E96-41A0-A791-149FD4B359A9}" dt="2023-02-28T15:33:32.946" v="630" actId="20577"/>
        <pc:sldMkLst>
          <pc:docMk/>
          <pc:sldMk cId="1867981817" sldId="285"/>
        </pc:sldMkLst>
        <pc:spChg chg="add mod">
          <ac:chgData name="Gina Jones" userId="dd199646-467a-450d-805a-670121e10f03" providerId="ADAL" clId="{D7521E2F-4E96-41A0-A791-149FD4B359A9}" dt="2023-02-28T15:32:55.816" v="570" actId="20577"/>
          <ac:spMkLst>
            <pc:docMk/>
            <pc:sldMk cId="1867981817" sldId="285"/>
            <ac:spMk id="8" creationId="{D5679904-230D-F289-8B36-B3375056DFCD}"/>
          </ac:spMkLst>
        </pc:spChg>
        <pc:spChg chg="add mod">
          <ac:chgData name="Gina Jones" userId="dd199646-467a-450d-805a-670121e10f03" providerId="ADAL" clId="{D7521E2F-4E96-41A0-A791-149FD4B359A9}" dt="2023-02-28T15:33:03.465" v="576" actId="20577"/>
          <ac:spMkLst>
            <pc:docMk/>
            <pc:sldMk cId="1867981817" sldId="285"/>
            <ac:spMk id="9" creationId="{82D42DFD-F68D-7CE3-C818-9F35FA930044}"/>
          </ac:spMkLst>
        </pc:spChg>
        <pc:spChg chg="add mod">
          <ac:chgData name="Gina Jones" userId="dd199646-467a-450d-805a-670121e10f03" providerId="ADAL" clId="{D7521E2F-4E96-41A0-A791-149FD4B359A9}" dt="2023-02-28T15:33:32.946" v="630" actId="20577"/>
          <ac:spMkLst>
            <pc:docMk/>
            <pc:sldMk cId="1867981817" sldId="285"/>
            <ac:spMk id="10" creationId="{4FB48B7D-1577-7F32-8C92-111AF959A3B2}"/>
          </ac:spMkLst>
        </pc:spChg>
        <pc:spChg chg="mod">
          <ac:chgData name="Gina Jones" userId="dd199646-467a-450d-805a-670121e10f03" providerId="ADAL" clId="{D7521E2F-4E96-41A0-A791-149FD4B359A9}" dt="2023-02-28T15:27:06.296" v="319" actId="20577"/>
          <ac:spMkLst>
            <pc:docMk/>
            <pc:sldMk cId="1867981817" sldId="285"/>
            <ac:spMk id="13" creationId="{2D56713B-3823-AC8F-C53B-7FBEB559CCE9}"/>
          </ac:spMkLst>
        </pc:spChg>
        <pc:spChg chg="add del mod">
          <ac:chgData name="Gina Jones" userId="dd199646-467a-450d-805a-670121e10f03" providerId="ADAL" clId="{D7521E2F-4E96-41A0-A791-149FD4B359A9}" dt="2023-02-28T15:32:11.733" v="536" actId="21"/>
          <ac:spMkLst>
            <pc:docMk/>
            <pc:sldMk cId="1867981817" sldId="285"/>
            <ac:spMk id="18" creationId="{5B7BB635-D725-784E-A5E5-C34E99F07587}"/>
          </ac:spMkLst>
        </pc:spChg>
        <pc:spChg chg="del">
          <ac:chgData name="Gina Jones" userId="dd199646-467a-450d-805a-670121e10f03" providerId="ADAL" clId="{D7521E2F-4E96-41A0-A791-149FD4B359A9}" dt="2023-02-28T15:24:03.219" v="113" actId="478"/>
          <ac:spMkLst>
            <pc:docMk/>
            <pc:sldMk cId="1867981817" sldId="285"/>
            <ac:spMk id="19" creationId="{D2DB49EC-680E-B4BD-5859-B847EE31381F}"/>
          </ac:spMkLst>
        </pc:spChg>
        <pc:spChg chg="del">
          <ac:chgData name="Gina Jones" userId="dd199646-467a-450d-805a-670121e10f03" providerId="ADAL" clId="{D7521E2F-4E96-41A0-A791-149FD4B359A9}" dt="2023-02-28T15:24:01.144" v="112" actId="478"/>
          <ac:spMkLst>
            <pc:docMk/>
            <pc:sldMk cId="1867981817" sldId="285"/>
            <ac:spMk id="20" creationId="{B0CD8951-C3E9-F335-4757-768038C86200}"/>
          </ac:spMkLst>
        </pc:spChg>
        <pc:picChg chg="add del mod">
          <ac:chgData name="Gina Jones" userId="dd199646-467a-450d-805a-670121e10f03" providerId="ADAL" clId="{D7521E2F-4E96-41A0-A791-149FD4B359A9}" dt="2023-02-28T15:22:37.119" v="99" actId="478"/>
          <ac:picMkLst>
            <pc:docMk/>
            <pc:sldMk cId="1867981817" sldId="285"/>
            <ac:picMk id="3" creationId="{05E86173-B216-C6FE-2F8E-E9D9E253C6EA}"/>
          </ac:picMkLst>
        </pc:picChg>
        <pc:picChg chg="add del mod">
          <ac:chgData name="Gina Jones" userId="dd199646-467a-450d-805a-670121e10f03" providerId="ADAL" clId="{D7521E2F-4E96-41A0-A791-149FD4B359A9}" dt="2023-02-28T15:23:26.415" v="107" actId="478"/>
          <ac:picMkLst>
            <pc:docMk/>
            <pc:sldMk cId="1867981817" sldId="285"/>
            <ac:picMk id="5" creationId="{707BE333-97AB-2C79-FC78-05EC8344486B}"/>
          </ac:picMkLst>
        </pc:picChg>
        <pc:picChg chg="add mod ord">
          <ac:chgData name="Gina Jones" userId="dd199646-467a-450d-805a-670121e10f03" providerId="ADAL" clId="{D7521E2F-4E96-41A0-A791-149FD4B359A9}" dt="2023-02-28T15:23:34.685" v="110" actId="167"/>
          <ac:picMkLst>
            <pc:docMk/>
            <pc:sldMk cId="1867981817" sldId="285"/>
            <ac:picMk id="7" creationId="{D6A6495A-0304-22D3-BFB4-A18363060FE6}"/>
          </ac:picMkLst>
        </pc:picChg>
        <pc:picChg chg="del">
          <ac:chgData name="Gina Jones" userId="dd199646-467a-450d-805a-670121e10f03" providerId="ADAL" clId="{D7521E2F-4E96-41A0-A791-149FD4B359A9}" dt="2023-02-28T15:21:47.886" v="92" actId="478"/>
          <ac:picMkLst>
            <pc:docMk/>
            <pc:sldMk cId="1867981817" sldId="285"/>
            <ac:picMk id="42" creationId="{51D96DC1-CC01-5A00-AA97-DFD397C05945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6:14:03.425" v="2326" actId="20577"/>
        <pc:sldMkLst>
          <pc:docMk/>
          <pc:sldMk cId="1072549327" sldId="286"/>
        </pc:sldMkLst>
        <pc:spChg chg="add del mod">
          <ac:chgData name="Gina Jones" userId="dd199646-467a-450d-805a-670121e10f03" providerId="ADAL" clId="{D7521E2F-4E96-41A0-A791-149FD4B359A9}" dt="2023-02-28T16:03:00.699" v="1898" actId="478"/>
          <ac:spMkLst>
            <pc:docMk/>
            <pc:sldMk cId="1072549327" sldId="286"/>
            <ac:spMk id="3" creationId="{1A423540-34D8-D4B7-3EEE-7779204E501B}"/>
          </ac:spMkLst>
        </pc:spChg>
        <pc:spChg chg="add del mod">
          <ac:chgData name="Gina Jones" userId="dd199646-467a-450d-805a-670121e10f03" providerId="ADAL" clId="{D7521E2F-4E96-41A0-A791-149FD4B359A9}" dt="2023-02-28T16:14:03.425" v="2326" actId="20577"/>
          <ac:spMkLst>
            <pc:docMk/>
            <pc:sldMk cId="1072549327" sldId="286"/>
            <ac:spMk id="43" creationId="{26EF8997-8684-DFD3-EF9F-A6A867BD9545}"/>
          </ac:spMkLst>
        </pc:spChg>
        <pc:spChg chg="mod">
          <ac:chgData name="Gina Jones" userId="dd199646-467a-450d-805a-670121e10f03" providerId="ADAL" clId="{D7521E2F-4E96-41A0-A791-149FD4B359A9}" dt="2023-02-28T15:53:19.254" v="1319" actId="207"/>
          <ac:spMkLst>
            <pc:docMk/>
            <pc:sldMk cId="1072549327" sldId="286"/>
            <ac:spMk id="44" creationId="{E84ED452-5626-3F62-8902-95BB1BA2F01F}"/>
          </ac:spMkLst>
        </pc:spChg>
        <pc:spChg chg="mod">
          <ac:chgData name="Gina Jones" userId="dd199646-467a-450d-805a-670121e10f03" providerId="ADAL" clId="{D7521E2F-4E96-41A0-A791-149FD4B359A9}" dt="2023-02-28T15:48:13.759" v="1212" actId="1076"/>
          <ac:spMkLst>
            <pc:docMk/>
            <pc:sldMk cId="1072549327" sldId="286"/>
            <ac:spMk id="49" creationId="{26520422-CF14-A301-0F26-75CB699FA256}"/>
          </ac:spMkLst>
        </pc:spChg>
        <pc:spChg chg="mod">
          <ac:chgData name="Gina Jones" userId="dd199646-467a-450d-805a-670121e10f03" providerId="ADAL" clId="{D7521E2F-4E96-41A0-A791-149FD4B359A9}" dt="2023-02-28T15:48:16.551" v="1213" actId="1076"/>
          <ac:spMkLst>
            <pc:docMk/>
            <pc:sldMk cId="1072549327" sldId="286"/>
            <ac:spMk id="103" creationId="{AFB95858-AF33-E9F4-CFC7-154700B467B4}"/>
          </ac:spMkLst>
        </pc:spChg>
        <pc:graphicFrameChg chg="add mod">
          <ac:chgData name="Gina Jones" userId="dd199646-467a-450d-805a-670121e10f03" providerId="ADAL" clId="{D7521E2F-4E96-41A0-A791-149FD4B359A9}" dt="2023-02-28T16:03:04.159" v="1900" actId="1076"/>
          <ac:graphicFrameMkLst>
            <pc:docMk/>
            <pc:sldMk cId="1072549327" sldId="286"/>
            <ac:graphicFrameMk id="12" creationId="{F0B40125-C5AC-D34F-B9DB-15FAF5BFA5E3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03:04.159" v="1900" actId="1076"/>
          <ac:graphicFrameMkLst>
            <pc:docMk/>
            <pc:sldMk cId="1072549327" sldId="286"/>
            <ac:graphicFrameMk id="13" creationId="{0337D512-9463-EB08-4694-2FEB60C51277}"/>
          </ac:graphicFrameMkLst>
        </pc:graphicFrameChg>
        <pc:picChg chg="add del mod">
          <ac:chgData name="Gina Jones" userId="dd199646-467a-450d-805a-670121e10f03" providerId="ADAL" clId="{D7521E2F-4E96-41A0-A791-149FD4B359A9}" dt="2023-02-28T15:46:27.954" v="1190" actId="478"/>
          <ac:picMkLst>
            <pc:docMk/>
            <pc:sldMk cId="1072549327" sldId="286"/>
            <ac:picMk id="5" creationId="{E8279696-D0D6-4896-2FCC-AE9F66479E9A}"/>
          </ac:picMkLst>
        </pc:picChg>
        <pc:picChg chg="add del mod">
          <ac:chgData name="Gina Jones" userId="dd199646-467a-450d-805a-670121e10f03" providerId="ADAL" clId="{D7521E2F-4E96-41A0-A791-149FD4B359A9}" dt="2023-02-28T15:46:48.560" v="1195" actId="478"/>
          <ac:picMkLst>
            <pc:docMk/>
            <pc:sldMk cId="1072549327" sldId="286"/>
            <ac:picMk id="7" creationId="{15823153-4422-42B2-8546-67D94E36677C}"/>
          </ac:picMkLst>
        </pc:picChg>
        <pc:picChg chg="add del mod">
          <ac:chgData name="Gina Jones" userId="dd199646-467a-450d-805a-670121e10f03" providerId="ADAL" clId="{D7521E2F-4E96-41A0-A791-149FD4B359A9}" dt="2023-02-28T15:47:52.177" v="1204" actId="478"/>
          <ac:picMkLst>
            <pc:docMk/>
            <pc:sldMk cId="1072549327" sldId="286"/>
            <ac:picMk id="9" creationId="{7E5EA453-7586-A360-6C40-B876D31AEACF}"/>
          </ac:picMkLst>
        </pc:picChg>
        <pc:picChg chg="add mod ord">
          <ac:chgData name="Gina Jones" userId="dd199646-467a-450d-805a-670121e10f03" providerId="ADAL" clId="{D7521E2F-4E96-41A0-A791-149FD4B359A9}" dt="2023-02-28T15:48:09.671" v="1211" actId="1076"/>
          <ac:picMkLst>
            <pc:docMk/>
            <pc:sldMk cId="1072549327" sldId="286"/>
            <ac:picMk id="11" creationId="{A88FE49C-A3E8-C445-F2CD-C2D67E3BCEED}"/>
          </ac:picMkLst>
        </pc:picChg>
        <pc:picChg chg="del">
          <ac:chgData name="Gina Jones" userId="dd199646-467a-450d-805a-670121e10f03" providerId="ADAL" clId="{D7521E2F-4E96-41A0-A791-149FD4B359A9}" dt="2023-02-28T15:47:53.170" v="1205" actId="478"/>
          <ac:picMkLst>
            <pc:docMk/>
            <pc:sldMk cId="1072549327" sldId="286"/>
            <ac:picMk id="107" creationId="{C8D2542A-C819-3809-FEF3-00072C9B1657}"/>
          </ac:picMkLst>
        </pc:picChg>
        <pc:picChg chg="del">
          <ac:chgData name="Gina Jones" userId="dd199646-467a-450d-805a-670121e10f03" providerId="ADAL" clId="{D7521E2F-4E96-41A0-A791-149FD4B359A9}" dt="2023-02-28T15:31:54.661" v="533" actId="478"/>
          <ac:picMkLst>
            <pc:docMk/>
            <pc:sldMk cId="1072549327" sldId="286"/>
            <ac:picMk id="1026" creationId="{34D9EA14-3B18-5BC9-4101-BA5CCF74FD2E}"/>
          </ac:picMkLst>
        </pc:picChg>
      </pc:sldChg>
      <pc:sldChg chg="del">
        <pc:chgData name="Gina Jones" userId="dd199646-467a-450d-805a-670121e10f03" providerId="ADAL" clId="{D7521E2F-4E96-41A0-A791-149FD4B359A9}" dt="2023-02-28T15:20:18.891" v="74" actId="47"/>
        <pc:sldMkLst>
          <pc:docMk/>
          <pc:sldMk cId="4196861634" sldId="371"/>
        </pc:sldMkLst>
      </pc:sldChg>
      <pc:sldChg chg="del">
        <pc:chgData name="Gina Jones" userId="dd199646-467a-450d-805a-670121e10f03" providerId="ADAL" clId="{D7521E2F-4E96-41A0-A791-149FD4B359A9}" dt="2023-02-28T15:20:18.232" v="73" actId="47"/>
        <pc:sldMkLst>
          <pc:docMk/>
          <pc:sldMk cId="2968010821" sldId="377"/>
        </pc:sldMkLst>
      </pc:sldChg>
      <pc:sldChg chg="del">
        <pc:chgData name="Gina Jones" userId="dd199646-467a-450d-805a-670121e10f03" providerId="ADAL" clId="{D7521E2F-4E96-41A0-A791-149FD4B359A9}" dt="2023-02-28T15:20:14.758" v="72" actId="47"/>
        <pc:sldMkLst>
          <pc:docMk/>
          <pc:sldMk cId="1071643324" sldId="464"/>
        </pc:sldMkLst>
      </pc:sldChg>
      <pc:sldChg chg="del">
        <pc:chgData name="Gina Jones" userId="dd199646-467a-450d-805a-670121e10f03" providerId="ADAL" clId="{D7521E2F-4E96-41A0-A791-149FD4B359A9}" dt="2023-02-28T15:33:54.228" v="633" actId="47"/>
        <pc:sldMkLst>
          <pc:docMk/>
          <pc:sldMk cId="1707437594" sldId="465"/>
        </pc:sldMkLst>
      </pc:sldChg>
      <pc:sldChg chg="delSp modSp del mod ord">
        <pc:chgData name="Gina Jones" userId="dd199646-467a-450d-805a-670121e10f03" providerId="ADAL" clId="{D7521E2F-4E96-41A0-A791-149FD4B359A9}" dt="2023-02-28T15:45:20.398" v="1183" actId="47"/>
        <pc:sldMkLst>
          <pc:docMk/>
          <pc:sldMk cId="3325875800" sldId="472"/>
        </pc:sldMkLst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4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5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8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1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3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4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5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7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18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2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3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5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6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8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2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31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32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34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35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47" creationId="{00000000-0000-0000-0000-000000000000}"/>
          </ac:spMkLst>
        </pc:spChg>
        <pc:spChg chg="mod">
          <ac:chgData name="Gina Jones" userId="dd199646-467a-450d-805a-670121e10f03" providerId="ADAL" clId="{D7521E2F-4E96-41A0-A791-149FD4B359A9}" dt="2023-02-28T15:42:54.554" v="1122" actId="1076"/>
          <ac:spMkLst>
            <pc:docMk/>
            <pc:sldMk cId="3325875800" sldId="472"/>
            <ac:spMk id="57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5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76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77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8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5:43:06.268" v="1123" actId="21"/>
          <ac:spMkLst>
            <pc:docMk/>
            <pc:sldMk cId="3325875800" sldId="472"/>
            <ac:spMk id="92" creationId="{00000000-0000-0000-0000-000000000000}"/>
          </ac:spMkLst>
        </pc:sp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56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1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3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4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5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6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7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8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69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70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5:43:06.268" v="1123" actId="21"/>
          <ac:graphicFrameMkLst>
            <pc:docMk/>
            <pc:sldMk cId="3325875800" sldId="472"/>
            <ac:graphicFrameMk id="71" creationId="{00000000-0000-0000-0000-000000000000}"/>
          </ac:graphicFrameMkLst>
        </pc:graphicFrame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7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46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49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50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52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53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54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55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75" creationId="{00000000-0000-0000-0000-000000000000}"/>
          </ac:cxnSpMkLst>
        </pc:cxnChg>
        <pc:cxnChg chg="del mod">
          <ac:chgData name="Gina Jones" userId="dd199646-467a-450d-805a-670121e10f03" providerId="ADAL" clId="{D7521E2F-4E96-41A0-A791-149FD4B359A9}" dt="2023-02-28T15:43:06.268" v="1123" actId="21"/>
          <ac:cxnSpMkLst>
            <pc:docMk/>
            <pc:sldMk cId="3325875800" sldId="472"/>
            <ac:cxnSpMk id="81" creationId="{00000000-0000-0000-0000-000000000000}"/>
          </ac:cxnSpMkLst>
        </pc:cxnChg>
      </pc:sldChg>
      <pc:sldChg chg="del">
        <pc:chgData name="Gina Jones" userId="dd199646-467a-450d-805a-670121e10f03" providerId="ADAL" clId="{D7521E2F-4E96-41A0-A791-149FD4B359A9}" dt="2023-02-28T15:19:10.188" v="69" actId="47"/>
        <pc:sldMkLst>
          <pc:docMk/>
          <pc:sldMk cId="3686236932" sldId="480"/>
        </pc:sldMkLst>
      </pc:sldChg>
      <pc:sldChg chg="del">
        <pc:chgData name="Gina Jones" userId="dd199646-467a-450d-805a-670121e10f03" providerId="ADAL" clId="{D7521E2F-4E96-41A0-A791-149FD4B359A9}" dt="2023-02-28T15:20:20.054" v="76" actId="47"/>
        <pc:sldMkLst>
          <pc:docMk/>
          <pc:sldMk cId="2762520423" sldId="482"/>
        </pc:sldMkLst>
      </pc:sldChg>
      <pc:sldChg chg="delSp del mod ord">
        <pc:chgData name="Gina Jones" userId="dd199646-467a-450d-805a-670121e10f03" providerId="ADAL" clId="{D7521E2F-4E96-41A0-A791-149FD4B359A9}" dt="2023-02-28T16:03:14.705" v="1901" actId="47"/>
        <pc:sldMkLst>
          <pc:docMk/>
          <pc:sldMk cId="1685765679" sldId="483"/>
        </pc:sldMkLst>
        <pc:graphicFrameChg chg="del">
          <ac:chgData name="Gina Jones" userId="dd199646-467a-450d-805a-670121e10f03" providerId="ADAL" clId="{D7521E2F-4E96-41A0-A791-149FD4B359A9}" dt="2023-02-28T16:02:55.832" v="1897" actId="21"/>
          <ac:graphicFrameMkLst>
            <pc:docMk/>
            <pc:sldMk cId="1685765679" sldId="483"/>
            <ac:graphicFrameMk id="5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6:02:55.832" v="1897" actId="21"/>
          <ac:graphicFrameMkLst>
            <pc:docMk/>
            <pc:sldMk cId="1685765679" sldId="483"/>
            <ac:graphicFrameMk id="13" creationId="{00000000-0000-0000-0000-000000000000}"/>
          </ac:graphicFrameMkLst>
        </pc:graphicFrameChg>
      </pc:sldChg>
      <pc:sldChg chg="delSp modSp del mod">
        <pc:chgData name="Gina Jones" userId="dd199646-467a-450d-805a-670121e10f03" providerId="ADAL" clId="{D7521E2F-4E96-41A0-A791-149FD4B359A9}" dt="2023-02-28T16:17:56.695" v="2647" actId="47"/>
        <pc:sldMkLst>
          <pc:docMk/>
          <pc:sldMk cId="4099955694" sldId="484"/>
        </pc:sldMkLst>
        <pc:spChg chg="mod">
          <ac:chgData name="Gina Jones" userId="dd199646-467a-450d-805a-670121e10f03" providerId="ADAL" clId="{D7521E2F-4E96-41A0-A791-149FD4B359A9}" dt="2023-02-28T16:09:57.856" v="2159" actId="20577"/>
          <ac:spMkLst>
            <pc:docMk/>
            <pc:sldMk cId="4099955694" sldId="484"/>
            <ac:spMk id="1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6:03:47.058" v="1904" actId="478"/>
          <ac:spMkLst>
            <pc:docMk/>
            <pc:sldMk cId="4099955694" sldId="484"/>
            <ac:spMk id="31" creationId="{00000000-0000-0000-0000-000000000000}"/>
          </ac:spMkLst>
        </pc:spChg>
      </pc:sldChg>
      <pc:sldChg chg="del mod">
        <pc:chgData name="Gina Jones" userId="dd199646-467a-450d-805a-670121e10f03" providerId="ADAL" clId="{D7521E2F-4E96-41A0-A791-149FD4B359A9}" dt="2023-02-28T16:45:51.295" v="3071" actId="47"/>
        <pc:sldMkLst>
          <pc:docMk/>
          <pc:sldMk cId="138534805" sldId="485"/>
        </pc:sldMkLst>
      </pc:sldChg>
      <pc:sldChg chg="delSp del mod">
        <pc:chgData name="Gina Jones" userId="dd199646-467a-450d-805a-670121e10f03" providerId="ADAL" clId="{D7521E2F-4E96-41A0-A791-149FD4B359A9}" dt="2023-02-28T16:47:59.140" v="3153" actId="47"/>
        <pc:sldMkLst>
          <pc:docMk/>
          <pc:sldMk cId="1544069066" sldId="486"/>
        </pc:sldMkLst>
        <pc:graphicFrameChg chg="del">
          <ac:chgData name="Gina Jones" userId="dd199646-467a-450d-805a-670121e10f03" providerId="ADAL" clId="{D7521E2F-4E96-41A0-A791-149FD4B359A9}" dt="2023-02-28T16:46:51.301" v="3073" actId="21"/>
          <ac:graphicFrameMkLst>
            <pc:docMk/>
            <pc:sldMk cId="1544069066" sldId="486"/>
            <ac:graphicFrameMk id="4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6:46:51.301" v="3073" actId="21"/>
          <ac:graphicFrameMkLst>
            <pc:docMk/>
            <pc:sldMk cId="1544069066" sldId="486"/>
            <ac:graphicFrameMk id="35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6:46:51.301" v="3073" actId="21"/>
          <ac:graphicFrameMkLst>
            <pc:docMk/>
            <pc:sldMk cId="1544069066" sldId="486"/>
            <ac:graphicFrameMk id="36" creationId="{00000000-0000-0000-0000-000000000000}"/>
          </ac:graphicFrameMkLst>
        </pc:graphicFrameChg>
      </pc:sldChg>
      <pc:sldChg chg="del">
        <pc:chgData name="Gina Jones" userId="dd199646-467a-450d-805a-670121e10f03" providerId="ADAL" clId="{D7521E2F-4E96-41A0-A791-149FD4B359A9}" dt="2023-02-28T16:51:14.954" v="3313" actId="47"/>
        <pc:sldMkLst>
          <pc:docMk/>
          <pc:sldMk cId="32107032" sldId="487"/>
        </pc:sldMkLst>
      </pc:sldChg>
      <pc:sldChg chg="del">
        <pc:chgData name="Gina Jones" userId="dd199646-467a-450d-805a-670121e10f03" providerId="ADAL" clId="{D7521E2F-4E96-41A0-A791-149FD4B359A9}" dt="2023-02-28T16:57:24.673" v="3458" actId="47"/>
        <pc:sldMkLst>
          <pc:docMk/>
          <pc:sldMk cId="199928827" sldId="488"/>
        </pc:sldMkLst>
      </pc:sldChg>
      <pc:sldChg chg="delSp modSp del mod">
        <pc:chgData name="Gina Jones" userId="dd199646-467a-450d-805a-670121e10f03" providerId="ADAL" clId="{D7521E2F-4E96-41A0-A791-149FD4B359A9}" dt="2023-02-28T17:02:10.900" v="3650" actId="47"/>
        <pc:sldMkLst>
          <pc:docMk/>
          <pc:sldMk cId="2568666883" sldId="489"/>
        </pc:sldMkLst>
        <pc:graphicFrameChg chg="del mod">
          <ac:chgData name="Gina Jones" userId="dd199646-467a-450d-805a-670121e10f03" providerId="ADAL" clId="{D7521E2F-4E96-41A0-A791-149FD4B359A9}" dt="2023-02-28T17:00:07.713" v="3531" actId="478"/>
          <ac:graphicFrameMkLst>
            <pc:docMk/>
            <pc:sldMk cId="2568666883" sldId="489"/>
            <ac:graphicFrameMk id="6" creationId="{00000000-0000-0000-0000-000000000000}"/>
          </ac:graphicFrameMkLst>
        </pc:graphicFrameChg>
        <pc:graphicFrameChg chg="mod modGraphic">
          <ac:chgData name="Gina Jones" userId="dd199646-467a-450d-805a-670121e10f03" providerId="ADAL" clId="{D7521E2F-4E96-41A0-A791-149FD4B359A9}" dt="2023-02-28T17:00:49.103" v="3615" actId="120"/>
          <ac:graphicFrameMkLst>
            <pc:docMk/>
            <pc:sldMk cId="2568666883" sldId="489"/>
            <ac:graphicFrameMk id="7" creationId="{00000000-0000-0000-0000-000000000000}"/>
          </ac:graphicFrameMkLst>
        </pc:graphicFrameChg>
        <pc:graphicFrameChg chg="mod">
          <ac:chgData name="Gina Jones" userId="dd199646-467a-450d-805a-670121e10f03" providerId="ADAL" clId="{D7521E2F-4E96-41A0-A791-149FD4B359A9}" dt="2023-02-28T16:59:04.255" v="3485"/>
          <ac:graphicFrameMkLst>
            <pc:docMk/>
            <pc:sldMk cId="2568666883" sldId="489"/>
            <ac:graphicFrameMk id="13" creationId="{00000000-0000-0000-0000-000000000000}"/>
          </ac:graphicFrameMkLst>
        </pc:graphicFrameChg>
      </pc:sldChg>
      <pc:sldChg chg="delSp del mod">
        <pc:chgData name="Gina Jones" userId="dd199646-467a-450d-805a-670121e10f03" providerId="ADAL" clId="{D7521E2F-4E96-41A0-A791-149FD4B359A9}" dt="2023-02-28T17:10:42.125" v="3722" actId="47"/>
        <pc:sldMkLst>
          <pc:docMk/>
          <pc:sldMk cId="2238458895" sldId="490"/>
        </pc:sldMkLst>
        <pc:spChg chg="del">
          <ac:chgData name="Gina Jones" userId="dd199646-467a-450d-805a-670121e10f03" providerId="ADAL" clId="{D7521E2F-4E96-41A0-A791-149FD4B359A9}" dt="2023-02-28T17:08:41.503" v="3681" actId="21"/>
          <ac:spMkLst>
            <pc:docMk/>
            <pc:sldMk cId="2238458895" sldId="490"/>
            <ac:spMk id="22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8:41.503" v="3681" actId="21"/>
          <ac:spMkLst>
            <pc:docMk/>
            <pc:sldMk cId="2238458895" sldId="490"/>
            <ac:spMk id="23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8:41.503" v="3681" actId="21"/>
          <ac:spMkLst>
            <pc:docMk/>
            <pc:sldMk cId="2238458895" sldId="490"/>
            <ac:spMk id="24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25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28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8:41.503" v="3681" actId="21"/>
          <ac:spMkLst>
            <pc:docMk/>
            <pc:sldMk cId="2238458895" sldId="490"/>
            <ac:spMk id="32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8:41.503" v="3681" actId="21"/>
          <ac:spMkLst>
            <pc:docMk/>
            <pc:sldMk cId="2238458895" sldId="490"/>
            <ac:spMk id="33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103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118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119" creationId="{00000000-0000-0000-0000-000000000000}"/>
          </ac:spMkLst>
        </pc:spChg>
        <pc:spChg chg="del">
          <ac:chgData name="Gina Jones" userId="dd199646-467a-450d-805a-670121e10f03" providerId="ADAL" clId="{D7521E2F-4E96-41A0-A791-149FD4B359A9}" dt="2023-02-28T17:09:53.108" v="3713" actId="21"/>
          <ac:spMkLst>
            <pc:docMk/>
            <pc:sldMk cId="2238458895" sldId="490"/>
            <ac:spMk id="120" creationId="{00000000-0000-0000-0000-000000000000}"/>
          </ac:spMkLst>
        </pc:spChg>
        <pc:graphicFrameChg chg="del">
          <ac:chgData name="Gina Jones" userId="dd199646-467a-450d-805a-670121e10f03" providerId="ADAL" clId="{D7521E2F-4E96-41A0-A791-149FD4B359A9}" dt="2023-02-28T17:09:53.108" v="3713" actId="21"/>
          <ac:graphicFrameMkLst>
            <pc:docMk/>
            <pc:sldMk cId="2238458895" sldId="490"/>
            <ac:graphicFrameMk id="105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7:08:41.503" v="3681" actId="21"/>
          <ac:graphicFrameMkLst>
            <pc:docMk/>
            <pc:sldMk cId="2238458895" sldId="490"/>
            <ac:graphicFrameMk id="106" creationId="{00000000-0000-0000-0000-000000000000}"/>
          </ac:graphicFrameMkLst>
        </pc:graphicFrameChg>
        <pc:cxnChg chg="del">
          <ac:chgData name="Gina Jones" userId="dd199646-467a-450d-805a-670121e10f03" providerId="ADAL" clId="{D7521E2F-4E96-41A0-A791-149FD4B359A9}" dt="2023-02-28T17:08:41.503" v="3681" actId="21"/>
          <ac:cxnSpMkLst>
            <pc:docMk/>
            <pc:sldMk cId="2238458895" sldId="490"/>
            <ac:cxnSpMk id="107" creationId="{00000000-0000-0000-0000-000000000000}"/>
          </ac:cxnSpMkLst>
        </pc:cxnChg>
      </pc:sldChg>
      <pc:sldChg chg="del">
        <pc:chgData name="Gina Jones" userId="dd199646-467a-450d-805a-670121e10f03" providerId="ADAL" clId="{D7521E2F-4E96-41A0-A791-149FD4B359A9}" dt="2023-02-28T15:20:19.536" v="75" actId="47"/>
        <pc:sldMkLst>
          <pc:docMk/>
          <pc:sldMk cId="3952865572" sldId="491"/>
        </pc:sldMkLst>
      </pc:sldChg>
      <pc:sldChg chg="del mod">
        <pc:chgData name="Gina Jones" userId="dd199646-467a-450d-805a-670121e10f03" providerId="ADAL" clId="{D7521E2F-4E96-41A0-A791-149FD4B359A9}" dt="2023-02-28T17:23:08.989" v="3920" actId="47"/>
        <pc:sldMkLst>
          <pc:docMk/>
          <pc:sldMk cId="1554876516" sldId="492"/>
        </pc:sldMkLst>
      </pc:sldChg>
      <pc:sldChg chg="delSp del mod">
        <pc:chgData name="Gina Jones" userId="dd199646-467a-450d-805a-670121e10f03" providerId="ADAL" clId="{D7521E2F-4E96-41A0-A791-149FD4B359A9}" dt="2023-02-28T17:11:58.424" v="3729" actId="47"/>
        <pc:sldMkLst>
          <pc:docMk/>
          <pc:sldMk cId="4061068500" sldId="493"/>
        </pc:sldMkLst>
        <pc:graphicFrameChg chg="del">
          <ac:chgData name="Gina Jones" userId="dd199646-467a-450d-805a-670121e10f03" providerId="ADAL" clId="{D7521E2F-4E96-41A0-A791-149FD4B359A9}" dt="2023-02-28T17:11:23.813" v="3726" actId="21"/>
          <ac:graphicFrameMkLst>
            <pc:docMk/>
            <pc:sldMk cId="4061068500" sldId="493"/>
            <ac:graphicFrameMk id="4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7:11:23.813" v="3726" actId="21"/>
          <ac:graphicFrameMkLst>
            <pc:docMk/>
            <pc:sldMk cId="4061068500" sldId="493"/>
            <ac:graphicFrameMk id="35" creationId="{00000000-0000-0000-0000-000000000000}"/>
          </ac:graphicFrameMkLst>
        </pc:graphicFrameChg>
        <pc:graphicFrameChg chg="del">
          <ac:chgData name="Gina Jones" userId="dd199646-467a-450d-805a-670121e10f03" providerId="ADAL" clId="{D7521E2F-4E96-41A0-A791-149FD4B359A9}" dt="2023-02-28T17:11:23.813" v="3726" actId="21"/>
          <ac:graphicFrameMkLst>
            <pc:docMk/>
            <pc:sldMk cId="4061068500" sldId="493"/>
            <ac:graphicFrameMk id="36" creationId="{00000000-0000-0000-0000-000000000000}"/>
          </ac:graphicFrameMkLst>
        </pc:graphicFrameChg>
      </pc:sldChg>
      <pc:sldChg chg="modSp del mod ord">
        <pc:chgData name="Gina Jones" userId="dd199646-467a-450d-805a-670121e10f03" providerId="ADAL" clId="{D7521E2F-4E96-41A0-A791-149FD4B359A9}" dt="2023-02-28T17:10:52.559" v="3723" actId="47"/>
        <pc:sldMkLst>
          <pc:docMk/>
          <pc:sldMk cId="3166370922" sldId="494"/>
        </pc:sldMkLst>
        <pc:spChg chg="mod">
          <ac:chgData name="Gina Jones" userId="dd199646-467a-450d-805a-670121e10f03" providerId="ADAL" clId="{D7521E2F-4E96-41A0-A791-149FD4B359A9}" dt="2023-02-28T16:51:20.601" v="3315" actId="27636"/>
          <ac:spMkLst>
            <pc:docMk/>
            <pc:sldMk cId="3166370922" sldId="494"/>
            <ac:spMk id="5" creationId="{00000000-0000-0000-0000-000000000000}"/>
          </ac:spMkLst>
        </pc:spChg>
      </pc:sldChg>
      <pc:sldChg chg="addSp new del mod">
        <pc:chgData name="Gina Jones" userId="dd199646-467a-450d-805a-670121e10f03" providerId="ADAL" clId="{D7521E2F-4E96-41A0-A791-149FD4B359A9}" dt="2023-02-28T16:03:42.035" v="1903" actId="47"/>
        <pc:sldMkLst>
          <pc:docMk/>
          <pc:sldMk cId="1610447666" sldId="495"/>
        </pc:sldMkLst>
        <pc:spChg chg="add">
          <ac:chgData name="Gina Jones" userId="dd199646-467a-450d-805a-670121e10f03" providerId="ADAL" clId="{D7521E2F-4E96-41A0-A791-149FD4B359A9}" dt="2023-02-28T15:37:29.352" v="809" actId="22"/>
          <ac:spMkLst>
            <pc:docMk/>
            <pc:sldMk cId="1610447666" sldId="495"/>
            <ac:spMk id="3" creationId="{F109CA68-3CCC-D51A-A4CE-F7691D847AEA}"/>
          </ac:spMkLst>
        </pc:spChg>
      </pc:sldChg>
      <pc:sldChg chg="new del">
        <pc:chgData name="Gina Jones" userId="dd199646-467a-450d-805a-670121e10f03" providerId="ADAL" clId="{D7521E2F-4E96-41A0-A791-149FD4B359A9}" dt="2023-02-28T15:37:20.167" v="804" actId="680"/>
        <pc:sldMkLst>
          <pc:docMk/>
          <pc:sldMk cId="3806571593" sldId="495"/>
        </pc:sldMkLst>
      </pc:sldChg>
      <pc:sldChg chg="addSp delSp modSp add mod">
        <pc:chgData name="Gina Jones" userId="dd199646-467a-450d-805a-670121e10f03" providerId="ADAL" clId="{D7521E2F-4E96-41A0-A791-149FD4B359A9}" dt="2023-02-28T17:50:56.560" v="3987" actId="1036"/>
        <pc:sldMkLst>
          <pc:docMk/>
          <pc:sldMk cId="1498923204" sldId="496"/>
        </pc:sldMkLst>
        <pc:spChg chg="del">
          <ac:chgData name="Gina Jones" userId="dd199646-467a-450d-805a-670121e10f03" providerId="ADAL" clId="{D7521E2F-4E96-41A0-A791-149FD4B359A9}" dt="2023-02-28T15:42:46.506" v="1121" actId="478"/>
          <ac:spMkLst>
            <pc:docMk/>
            <pc:sldMk cId="1498923204" sldId="496"/>
            <ac:spMk id="3" creationId="{1A423540-34D8-D4B7-3EEE-7779204E501B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4" creationId="{5C211EED-E484-6E9C-8EDC-56407E2D86BB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6" creationId="{020BE61C-29ED-9D8A-7C60-7B99F7C9DEB5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7" creationId="{893C1B13-6BE2-80D3-EC3F-3AF33A44724C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8" creationId="{D9C0A03B-C48A-9A54-961F-223CFF1B9C75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9" creationId="{BB5AEF4A-C0C8-DD7E-A0D0-71367AE7FC8C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10" creationId="{704AEE3C-7315-2C6B-4E87-17951B498C9C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11" creationId="{F1C3E08A-A27A-5E88-0D7E-F6B95FC6C25A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12" creationId="{52151666-60CD-2993-D425-3BF74F1D7120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13" creationId="{F82D8D64-51EB-A96B-C8A5-61C7CC0FA96C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14" creationId="{2B5FEE92-32C4-789D-C831-A6C1B4CBE62E}"/>
          </ac:spMkLst>
        </pc:spChg>
        <pc:spChg chg="add del mod">
          <ac:chgData name="Gina Jones" userId="dd199646-467a-450d-805a-670121e10f03" providerId="ADAL" clId="{D7521E2F-4E96-41A0-A791-149FD4B359A9}" dt="2023-02-28T15:43:36.230" v="1129" actId="478"/>
          <ac:spMkLst>
            <pc:docMk/>
            <pc:sldMk cId="1498923204" sldId="496"/>
            <ac:spMk id="15" creationId="{786C1EAB-1D16-0E53-8B9C-F20F258B2218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23" creationId="{7A69DB8F-0042-44D2-7213-A19A81C596DD}"/>
          </ac:spMkLst>
        </pc:spChg>
        <pc:spChg chg="add del mod">
          <ac:chgData name="Gina Jones" userId="dd199646-467a-450d-805a-670121e10f03" providerId="ADAL" clId="{D7521E2F-4E96-41A0-A791-149FD4B359A9}" dt="2023-02-28T15:43:34.908" v="1128" actId="478"/>
          <ac:spMkLst>
            <pc:docMk/>
            <pc:sldMk cId="1498923204" sldId="496"/>
            <ac:spMk id="25" creationId="{781CCE73-B3C1-F028-8F0B-28B105F5D048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26" creationId="{2AD89084-2BA2-2B6B-E0C3-1580757CB470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27" creationId="{FFC6D55A-733B-7176-09DA-ED2DEE7B4863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28" creationId="{AA1F74DA-D20D-00B8-DF66-A5F9B9E02A94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29" creationId="{7E792C2D-E2D5-249A-A0C4-1446B76E4D74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0" creationId="{A9315B87-0C1B-3A2B-02A6-98700171C1EA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1" creationId="{327C09A9-CBD1-1D4B-65EC-505AC4B3600C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2" creationId="{9859DBC6-407D-F365-566D-28AB92BDCBC9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3" creationId="{B3B4FCE7-7BB3-5614-E11E-F7C18BD33F13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4" creationId="{4C3A53EC-D0F1-5353-5BDB-E230D0AE78CB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5" creationId="{4615F2CB-9194-5B43-333D-0536B74301F3}"/>
          </ac:spMkLst>
        </pc:spChg>
        <pc:spChg chg="add mod">
          <ac:chgData name="Gina Jones" userId="dd199646-467a-450d-805a-670121e10f03" providerId="ADAL" clId="{D7521E2F-4E96-41A0-A791-149FD4B359A9}" dt="2023-02-28T15:43:41.281" v="1130" actId="1076"/>
          <ac:spMkLst>
            <pc:docMk/>
            <pc:sldMk cId="1498923204" sldId="496"/>
            <ac:spMk id="36" creationId="{9F431B4D-9F18-137C-D2E4-D8252C3BD0E8}"/>
          </ac:spMkLst>
        </pc:spChg>
        <pc:spChg chg="add del mod">
          <ac:chgData name="Gina Jones" userId="dd199646-467a-450d-805a-670121e10f03" providerId="ADAL" clId="{D7521E2F-4E96-41A0-A791-149FD4B359A9}" dt="2023-02-28T15:44:16.764" v="1139" actId="478"/>
          <ac:spMkLst>
            <pc:docMk/>
            <pc:sldMk cId="1498923204" sldId="496"/>
            <ac:spMk id="37" creationId="{3517735A-918B-1613-787B-A5685E155457}"/>
          </ac:spMkLst>
        </pc:spChg>
        <pc:spChg chg="add del mod">
          <ac:chgData name="Gina Jones" userId="dd199646-467a-450d-805a-670121e10f03" providerId="ADAL" clId="{D7521E2F-4E96-41A0-A791-149FD4B359A9}" dt="2023-02-28T15:44:16.766" v="1141"/>
          <ac:spMkLst>
            <pc:docMk/>
            <pc:sldMk cId="1498923204" sldId="496"/>
            <ac:spMk id="38" creationId="{697A0C8F-31B9-ABB4-BB90-C1E87B01D70B}"/>
          </ac:spMkLst>
        </pc:spChg>
        <pc:spChg chg="mod">
          <ac:chgData name="Gina Jones" userId="dd199646-467a-450d-805a-670121e10f03" providerId="ADAL" clId="{D7521E2F-4E96-41A0-A791-149FD4B359A9}" dt="2023-02-28T16:14:09.372" v="2338" actId="20577"/>
          <ac:spMkLst>
            <pc:docMk/>
            <pc:sldMk cId="1498923204" sldId="496"/>
            <ac:spMk id="43" creationId="{26EF8997-8684-DFD3-EF9F-A6A867BD9545}"/>
          </ac:spMkLst>
        </pc:spChg>
        <pc:spChg chg="mod">
          <ac:chgData name="Gina Jones" userId="dd199646-467a-450d-805a-670121e10f03" providerId="ADAL" clId="{D7521E2F-4E96-41A0-A791-149FD4B359A9}" dt="2023-02-28T16:00:44.853" v="1817" actId="20577"/>
          <ac:spMkLst>
            <pc:docMk/>
            <pc:sldMk cId="1498923204" sldId="496"/>
            <ac:spMk id="44" creationId="{E84ED452-5626-3F62-8902-95BB1BA2F01F}"/>
          </ac:spMkLst>
        </pc:spChg>
        <pc:spChg chg="mod">
          <ac:chgData name="Gina Jones" userId="dd199646-467a-450d-805a-670121e10f03" providerId="ADAL" clId="{D7521E2F-4E96-41A0-A791-149FD4B359A9}" dt="2023-02-28T17:50:51.278" v="3985" actId="120"/>
          <ac:spMkLst>
            <pc:docMk/>
            <pc:sldMk cId="1498923204" sldId="496"/>
            <ac:spMk id="49" creationId="{26520422-CF14-A301-0F26-75CB699FA256}"/>
          </ac:spMkLst>
        </pc:spChg>
        <pc:spChg chg="del mod">
          <ac:chgData name="Gina Jones" userId="dd199646-467a-450d-805a-670121e10f03" providerId="ADAL" clId="{D7521E2F-4E96-41A0-A791-149FD4B359A9}" dt="2023-02-28T15:44:09.293" v="1137"/>
          <ac:spMkLst>
            <pc:docMk/>
            <pc:sldMk cId="1498923204" sldId="496"/>
            <ac:spMk id="103" creationId="{AFB95858-AF33-E9F4-CFC7-154700B467B4}"/>
          </ac:spMkLst>
        </pc:sp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39" creationId="{919B31C4-99C4-AC23-855F-F1A1BA6C1057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40" creationId="{CE3EE4B4-9E8D-55DD-A885-064C2AB0EBCE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46" creationId="{7987666E-5EDE-E68E-6975-B6A30B7C41E1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47" creationId="{4FFF4D99-225D-3E34-1421-19D964824B6F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48" creationId="{ECB533C0-A92A-C115-107B-469683E0443F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0" creationId="{8542BABA-54A1-3FD0-BCA2-868B1C4642EA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1" creationId="{F0FA314C-DD01-0B51-442C-2FE17ECC3B5B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2" creationId="{B727D884-4D42-541A-44CC-DB24B0DF42BF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3" creationId="{B86E824F-308D-53C6-D346-4F95F8F92F4B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4" creationId="{BE79CB2A-6B94-DF8E-6E82-0C722785C2DA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5:43:41.281" v="1130" actId="1076"/>
          <ac:graphicFrameMkLst>
            <pc:docMk/>
            <pc:sldMk cId="1498923204" sldId="496"/>
            <ac:graphicFrameMk id="55" creationId="{F8AFE7C5-1513-DD38-69E4-1C311BA58881}"/>
          </ac:graphicFrameMkLst>
        </pc:graphicFrameChg>
        <pc:picChg chg="add del mod">
          <ac:chgData name="Gina Jones" userId="dd199646-467a-450d-805a-670121e10f03" providerId="ADAL" clId="{D7521E2F-4E96-41A0-A791-149FD4B359A9}" dt="2023-02-28T15:49:11.871" v="1221" actId="478"/>
          <ac:picMkLst>
            <pc:docMk/>
            <pc:sldMk cId="1498923204" sldId="496"/>
            <ac:picMk id="57" creationId="{899EB399-A90A-2039-11B5-1D9CF60A2329}"/>
          </ac:picMkLst>
        </pc:picChg>
        <pc:picChg chg="add mod ord">
          <ac:chgData name="Gina Jones" userId="dd199646-467a-450d-805a-670121e10f03" providerId="ADAL" clId="{D7521E2F-4E96-41A0-A791-149FD4B359A9}" dt="2023-02-28T17:50:56.560" v="3987" actId="1036"/>
          <ac:picMkLst>
            <pc:docMk/>
            <pc:sldMk cId="1498923204" sldId="496"/>
            <ac:picMk id="59" creationId="{22BA38C3-E5B1-3FF9-8408-ECBD6AFED9C7}"/>
          </ac:picMkLst>
        </pc:picChg>
        <pc:picChg chg="del">
          <ac:chgData name="Gina Jones" userId="dd199646-467a-450d-805a-670121e10f03" providerId="ADAL" clId="{D7521E2F-4E96-41A0-A791-149FD4B359A9}" dt="2023-02-28T15:49:12.759" v="1222" actId="478"/>
          <ac:picMkLst>
            <pc:docMk/>
            <pc:sldMk cId="1498923204" sldId="496"/>
            <ac:picMk id="107" creationId="{C8D2542A-C819-3809-FEF3-00072C9B1657}"/>
          </ac:picMkLst>
        </pc:pic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2" creationId="{1B239A70-284D-9B49-8C98-B3CCC1248E9A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5" creationId="{FB454D1A-8A8E-E560-5005-51AA28291D9F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16" creationId="{58620A0D-19AD-59DF-7AA6-6F601223E2EA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17" creationId="{E503A21C-0419-8E5F-4201-8A3A80F4A915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18" creationId="{705D2943-41C2-C429-35B5-A159BC0784C4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19" creationId="{957724EF-242C-AC65-BB0E-B95E81724F63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20" creationId="{AB765A63-8A02-C7E6-7A3F-D79F3C400C6F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21" creationId="{34A9814A-63F6-8660-BF81-D6B261604580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22" creationId="{FA7DD112-07A6-7E17-ACAE-2FC074384019}"/>
          </ac:cxnSpMkLst>
        </pc:cxnChg>
        <pc:cxnChg chg="add mod">
          <ac:chgData name="Gina Jones" userId="dd199646-467a-450d-805a-670121e10f03" providerId="ADAL" clId="{D7521E2F-4E96-41A0-A791-149FD4B359A9}" dt="2023-02-28T15:43:41.281" v="1130" actId="1076"/>
          <ac:cxnSpMkLst>
            <pc:docMk/>
            <pc:sldMk cId="1498923204" sldId="496"/>
            <ac:cxnSpMk id="24" creationId="{37456B2C-6EAF-EB54-D89F-B60C55FA825D}"/>
          </ac:cxnSpMkLst>
        </pc:cxnChg>
      </pc:sldChg>
      <pc:sldChg chg="addSp delSp modSp new mod">
        <pc:chgData name="Gina Jones" userId="dd199646-467a-450d-805a-670121e10f03" providerId="ADAL" clId="{D7521E2F-4E96-41A0-A791-149FD4B359A9}" dt="2023-02-28T17:51:18.534" v="3988" actId="120"/>
        <pc:sldMkLst>
          <pc:docMk/>
          <pc:sldMk cId="1797344467" sldId="497"/>
        </pc:sldMkLst>
        <pc:spChg chg="add del mod">
          <ac:chgData name="Gina Jones" userId="dd199646-467a-450d-805a-670121e10f03" providerId="ADAL" clId="{D7521E2F-4E96-41A0-A791-149FD4B359A9}" dt="2023-02-28T15:51:01.767" v="1240" actId="478"/>
          <ac:spMkLst>
            <pc:docMk/>
            <pc:sldMk cId="1797344467" sldId="497"/>
            <ac:spMk id="7" creationId="{BED45966-8695-46EB-10EC-65A7967DF248}"/>
          </ac:spMkLst>
        </pc:spChg>
        <pc:spChg chg="add mod">
          <ac:chgData name="Gina Jones" userId="dd199646-467a-450d-805a-670121e10f03" providerId="ADAL" clId="{D7521E2F-4E96-41A0-A791-149FD4B359A9}" dt="2023-02-28T17:51:18.534" v="3988" actId="120"/>
          <ac:spMkLst>
            <pc:docMk/>
            <pc:sldMk cId="1797344467" sldId="497"/>
            <ac:spMk id="8" creationId="{4580C2EF-430A-ACC7-7EA5-DD4929597673}"/>
          </ac:spMkLst>
        </pc:spChg>
        <pc:spChg chg="add mod">
          <ac:chgData name="Gina Jones" userId="dd199646-467a-450d-805a-670121e10f03" providerId="ADAL" clId="{D7521E2F-4E96-41A0-A791-149FD4B359A9}" dt="2023-02-28T15:52:09.254" v="1305"/>
          <ac:spMkLst>
            <pc:docMk/>
            <pc:sldMk cId="1797344467" sldId="497"/>
            <ac:spMk id="9" creationId="{ED310433-6DE7-4ACC-BCC7-1A63FD549F89}"/>
          </ac:spMkLst>
        </pc:spChg>
        <pc:spChg chg="add mod">
          <ac:chgData name="Gina Jones" userId="dd199646-467a-450d-805a-670121e10f03" providerId="ADAL" clId="{D7521E2F-4E96-41A0-A791-149FD4B359A9}" dt="2023-02-28T16:14:15.153" v="2350" actId="20577"/>
          <ac:spMkLst>
            <pc:docMk/>
            <pc:sldMk cId="1797344467" sldId="497"/>
            <ac:spMk id="11" creationId="{C773DF54-D744-56C5-58FA-CDCC8D19EA2A}"/>
          </ac:spMkLst>
        </pc:spChg>
        <pc:spChg chg="add mod">
          <ac:chgData name="Gina Jones" userId="dd199646-467a-450d-805a-670121e10f03" providerId="ADAL" clId="{D7521E2F-4E96-41A0-A791-149FD4B359A9}" dt="2023-02-28T15:53:05.431" v="1317" actId="20577"/>
          <ac:spMkLst>
            <pc:docMk/>
            <pc:sldMk cId="1797344467" sldId="497"/>
            <ac:spMk id="12" creationId="{583B8FCB-5E80-0D7B-523B-287E51BDBD34}"/>
          </ac:spMkLst>
        </pc:spChg>
        <pc:spChg chg="add del mod">
          <ac:chgData name="Gina Jones" userId="dd199646-467a-450d-805a-670121e10f03" providerId="ADAL" clId="{D7521E2F-4E96-41A0-A791-149FD4B359A9}" dt="2023-02-28T15:52:52.311" v="1309" actId="478"/>
          <ac:spMkLst>
            <pc:docMk/>
            <pc:sldMk cId="1797344467" sldId="497"/>
            <ac:spMk id="14" creationId="{F271EBC8-883D-9DCB-1DCB-DF2C4CD81CA7}"/>
          </ac:spMkLst>
        </pc:spChg>
        <pc:spChg chg="add mod">
          <ac:chgData name="Gina Jones" userId="dd199646-467a-450d-805a-670121e10f03" providerId="ADAL" clId="{D7521E2F-4E96-41A0-A791-149FD4B359A9}" dt="2023-02-28T16:00:01.564" v="1811" actId="20577"/>
          <ac:spMkLst>
            <pc:docMk/>
            <pc:sldMk cId="1797344467" sldId="497"/>
            <ac:spMk id="15" creationId="{0865D66C-E660-FD0B-A16D-0F5DCD76C083}"/>
          </ac:spMkLst>
        </pc:spChg>
        <pc:graphicFrameChg chg="add mod modGraphic">
          <ac:chgData name="Gina Jones" userId="dd199646-467a-450d-805a-670121e10f03" providerId="ADAL" clId="{D7521E2F-4E96-41A0-A791-149FD4B359A9}" dt="2023-02-28T15:57:43.579" v="1631" actId="1076"/>
          <ac:graphicFrameMkLst>
            <pc:docMk/>
            <pc:sldMk cId="1797344467" sldId="497"/>
            <ac:graphicFrameMk id="16" creationId="{D1F81568-211D-17A9-241E-D49C14236E84}"/>
          </ac:graphicFrameMkLst>
        </pc:graphicFrameChg>
        <pc:picChg chg="add del mod">
          <ac:chgData name="Gina Jones" userId="dd199646-467a-450d-805a-670121e10f03" providerId="ADAL" clId="{D7521E2F-4E96-41A0-A791-149FD4B359A9}" dt="2023-02-28T15:50:45.520" v="1235" actId="478"/>
          <ac:picMkLst>
            <pc:docMk/>
            <pc:sldMk cId="1797344467" sldId="497"/>
            <ac:picMk id="3" creationId="{1E28FFE6-6700-9C56-D82A-A5A3BE1E51D2}"/>
          </ac:picMkLst>
        </pc:picChg>
        <pc:picChg chg="add del mod">
          <ac:chgData name="Gina Jones" userId="dd199646-467a-450d-805a-670121e10f03" providerId="ADAL" clId="{D7521E2F-4E96-41A0-A791-149FD4B359A9}" dt="2023-02-28T17:38:03.973" v="3924" actId="478"/>
          <ac:picMkLst>
            <pc:docMk/>
            <pc:sldMk cId="1797344467" sldId="497"/>
            <ac:picMk id="5" creationId="{FBDE8BE2-E8D5-B54E-96D0-48B35FE140BB}"/>
          </ac:picMkLst>
        </pc:picChg>
        <pc:picChg chg="add mod">
          <ac:chgData name="Gina Jones" userId="dd199646-467a-450d-805a-670121e10f03" providerId="ADAL" clId="{D7521E2F-4E96-41A0-A791-149FD4B359A9}" dt="2023-02-28T15:52:09.254" v="1305"/>
          <ac:picMkLst>
            <pc:docMk/>
            <pc:sldMk cId="1797344467" sldId="497"/>
            <ac:picMk id="10" creationId="{EEEA6F88-03E7-B355-24CA-DD8A19BAF49F}"/>
          </ac:picMkLst>
        </pc:picChg>
        <pc:picChg chg="add mod ord">
          <ac:chgData name="Gina Jones" userId="dd199646-467a-450d-805a-670121e10f03" providerId="ADAL" clId="{D7521E2F-4E96-41A0-A791-149FD4B359A9}" dt="2023-02-28T17:39:06.090" v="3933" actId="167"/>
          <ac:picMkLst>
            <pc:docMk/>
            <pc:sldMk cId="1797344467" sldId="497"/>
            <ac:picMk id="18" creationId="{B875C0A7-A027-92A5-8DC0-85EB6476723D}"/>
          </ac:picMkLst>
        </pc:picChg>
        <pc:picChg chg="add del mod">
          <ac:chgData name="Gina Jones" userId="dd199646-467a-450d-805a-670121e10f03" providerId="ADAL" clId="{D7521E2F-4E96-41A0-A791-149FD4B359A9}" dt="2023-02-28T17:38:52.971" v="3929" actId="478"/>
          <ac:picMkLst>
            <pc:docMk/>
            <pc:sldMk cId="1797344467" sldId="497"/>
            <ac:picMk id="2050" creationId="{C86AF39E-9244-8E07-B1F1-A03B49EDE44D}"/>
          </ac:picMkLst>
        </pc:picChg>
      </pc:sldChg>
      <pc:sldChg chg="addSp delSp modSp new mod">
        <pc:chgData name="Gina Jones" userId="dd199646-467a-450d-805a-670121e10f03" providerId="ADAL" clId="{D7521E2F-4E96-41A0-A791-149FD4B359A9}" dt="2023-02-28T17:37:21.699" v="3923" actId="167"/>
        <pc:sldMkLst>
          <pc:docMk/>
          <pc:sldMk cId="691277276" sldId="498"/>
        </pc:sldMkLst>
        <pc:spChg chg="add del mod">
          <ac:chgData name="Gina Jones" userId="dd199646-467a-450d-805a-670121e10f03" providerId="ADAL" clId="{D7521E2F-4E96-41A0-A791-149FD4B359A9}" dt="2023-02-28T16:11:29.001" v="2166" actId="478"/>
          <ac:spMkLst>
            <pc:docMk/>
            <pc:sldMk cId="691277276" sldId="498"/>
            <ac:spMk id="2" creationId="{5382C056-10D4-2FFE-297C-886AEE6D35AE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4" creationId="{B20A4416-D123-6836-B5FE-AE45CD77CC1B}"/>
          </ac:spMkLst>
        </pc:spChg>
        <pc:spChg chg="add del mod">
          <ac:chgData name="Gina Jones" userId="dd199646-467a-450d-805a-670121e10f03" providerId="ADAL" clId="{D7521E2F-4E96-41A0-A791-149FD4B359A9}" dt="2023-02-28T16:11:29.001" v="2166" actId="478"/>
          <ac:spMkLst>
            <pc:docMk/>
            <pc:sldMk cId="691277276" sldId="498"/>
            <ac:spMk id="7" creationId="{EC8CD6E3-8B69-B633-0DA0-DF4E411656E8}"/>
          </ac:spMkLst>
        </pc:spChg>
        <pc:spChg chg="add del mod">
          <ac:chgData name="Gina Jones" userId="dd199646-467a-450d-805a-670121e10f03" providerId="ADAL" clId="{D7521E2F-4E96-41A0-A791-149FD4B359A9}" dt="2023-02-28T16:11:29.001" v="2166" actId="478"/>
          <ac:spMkLst>
            <pc:docMk/>
            <pc:sldMk cId="691277276" sldId="498"/>
            <ac:spMk id="8" creationId="{193B2BE6-5A3D-D426-163F-D72084ADE5BB}"/>
          </ac:spMkLst>
        </pc:spChg>
        <pc:spChg chg="add del mod">
          <ac:chgData name="Gina Jones" userId="dd199646-467a-450d-805a-670121e10f03" providerId="ADAL" clId="{D7521E2F-4E96-41A0-A791-149FD4B359A9}" dt="2023-02-28T16:11:29.001" v="2166" actId="478"/>
          <ac:spMkLst>
            <pc:docMk/>
            <pc:sldMk cId="691277276" sldId="498"/>
            <ac:spMk id="9" creationId="{D1614683-B5CB-0E01-4998-B3DF49EBAA02}"/>
          </ac:spMkLst>
        </pc:spChg>
        <pc:spChg chg="add del mod">
          <ac:chgData name="Gina Jones" userId="dd199646-467a-450d-805a-670121e10f03" providerId="ADAL" clId="{D7521E2F-4E96-41A0-A791-149FD4B359A9}" dt="2023-02-28T16:12:04.854" v="2173" actId="478"/>
          <ac:spMkLst>
            <pc:docMk/>
            <pc:sldMk cId="691277276" sldId="498"/>
            <ac:spMk id="10" creationId="{82981935-6DF4-2840-065C-63B8D5008796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1" creationId="{EAD84EEA-A997-1B3E-643E-348066F8AFA2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2" creationId="{CF3EE696-E676-7C78-9CB2-6B552FD50B32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3" creationId="{ECBCB1D1-4E52-C99B-D248-23C9712A203D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4" creationId="{23B91CC8-7421-A9D1-86AE-4C6B37DB0D21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5" creationId="{F24F2BD0-5400-61FE-3391-13E78794AA7A}"/>
          </ac:spMkLst>
        </pc:spChg>
        <pc:spChg chg="add mod">
          <ac:chgData name="Gina Jones" userId="dd199646-467a-450d-805a-670121e10f03" providerId="ADAL" clId="{D7521E2F-4E96-41A0-A791-149FD4B359A9}" dt="2023-02-28T16:12:22.686" v="2175" actId="1076"/>
          <ac:spMkLst>
            <pc:docMk/>
            <pc:sldMk cId="691277276" sldId="498"/>
            <ac:spMk id="16" creationId="{FA4758ED-331B-BBF7-89F2-00A4E9524F3B}"/>
          </ac:spMkLst>
        </pc:spChg>
        <pc:spChg chg="add mod">
          <ac:chgData name="Gina Jones" userId="dd199646-467a-450d-805a-670121e10f03" providerId="ADAL" clId="{D7521E2F-4E96-41A0-A791-149FD4B359A9}" dt="2023-02-28T16:13:47.973" v="2314" actId="120"/>
          <ac:spMkLst>
            <pc:docMk/>
            <pc:sldMk cId="691277276" sldId="498"/>
            <ac:spMk id="19" creationId="{7483525C-12ED-B752-AF64-1BD71E031B9E}"/>
          </ac:spMkLst>
        </pc:spChg>
        <pc:spChg chg="add mod">
          <ac:chgData name="Gina Jones" userId="dd199646-467a-450d-805a-670121e10f03" providerId="ADAL" clId="{D7521E2F-4E96-41A0-A791-149FD4B359A9}" dt="2023-02-28T16:12:16.150" v="2174"/>
          <ac:spMkLst>
            <pc:docMk/>
            <pc:sldMk cId="691277276" sldId="498"/>
            <ac:spMk id="20" creationId="{A16FEE8A-9DD1-DCA4-9E0F-91472B1B0A68}"/>
          </ac:spMkLst>
        </pc:spChg>
        <pc:spChg chg="add mod">
          <ac:chgData name="Gina Jones" userId="dd199646-467a-450d-805a-670121e10f03" providerId="ADAL" clId="{D7521E2F-4E96-41A0-A791-149FD4B359A9}" dt="2023-02-28T16:14:21.373" v="2362" actId="20577"/>
          <ac:spMkLst>
            <pc:docMk/>
            <pc:sldMk cId="691277276" sldId="498"/>
            <ac:spMk id="22" creationId="{C3D410EA-E87B-3BDD-0FAB-4F4008B4C3CD}"/>
          </ac:spMkLst>
        </pc:spChg>
        <pc:spChg chg="add mod">
          <ac:chgData name="Gina Jones" userId="dd199646-467a-450d-805a-670121e10f03" providerId="ADAL" clId="{D7521E2F-4E96-41A0-A791-149FD4B359A9}" dt="2023-02-28T16:12:47.083" v="2181" actId="20577"/>
          <ac:spMkLst>
            <pc:docMk/>
            <pc:sldMk cId="691277276" sldId="498"/>
            <ac:spMk id="23" creationId="{BB3E4ACC-76D5-4D26-5C47-2DB1B13E065A}"/>
          </ac:spMkLst>
        </pc:spChg>
        <pc:graphicFrameChg chg="add del mod modGraphic">
          <ac:chgData name="Gina Jones" userId="dd199646-467a-450d-805a-670121e10f03" providerId="ADAL" clId="{D7521E2F-4E96-41A0-A791-149FD4B359A9}" dt="2023-02-28T16:11:29.001" v="2166" actId="478"/>
          <ac:graphicFrameMkLst>
            <pc:docMk/>
            <pc:sldMk cId="691277276" sldId="498"/>
            <ac:graphicFrameMk id="3" creationId="{34030EFE-03F3-A94F-2CB2-09341EFA7288}"/>
          </ac:graphicFrameMkLst>
        </pc:graphicFrameChg>
        <pc:graphicFrameChg chg="add mod modGraphic">
          <ac:chgData name="Gina Jones" userId="dd199646-467a-450d-805a-670121e10f03" providerId="ADAL" clId="{D7521E2F-4E96-41A0-A791-149FD4B359A9}" dt="2023-02-28T16:12:22.686" v="2175" actId="1076"/>
          <ac:graphicFrameMkLst>
            <pc:docMk/>
            <pc:sldMk cId="691277276" sldId="498"/>
            <ac:graphicFrameMk id="5" creationId="{9103FD2A-C8A1-BFB7-C35E-0C292CCB85EB}"/>
          </ac:graphicFrameMkLst>
        </pc:graphicFrameChg>
        <pc:picChg chg="add mod">
          <ac:chgData name="Gina Jones" userId="dd199646-467a-450d-805a-670121e10f03" providerId="ADAL" clId="{D7521E2F-4E96-41A0-A791-149FD4B359A9}" dt="2023-02-28T16:12:16.150" v="2174"/>
          <ac:picMkLst>
            <pc:docMk/>
            <pc:sldMk cId="691277276" sldId="498"/>
            <ac:picMk id="21" creationId="{8757CB70-0172-295C-9C49-8E4644BD7AE8}"/>
          </ac:picMkLst>
        </pc:picChg>
        <pc:picChg chg="add mod">
          <ac:chgData name="Gina Jones" userId="dd199646-467a-450d-805a-670121e10f03" providerId="ADAL" clId="{D7521E2F-4E96-41A0-A791-149FD4B359A9}" dt="2023-02-28T17:37:21.699" v="3923" actId="167"/>
          <ac:picMkLst>
            <pc:docMk/>
            <pc:sldMk cId="691277276" sldId="498"/>
            <ac:picMk id="1026" creationId="{8761307F-A6B4-B3ED-E50E-AF270325BA4D}"/>
          </ac:picMkLst>
        </pc:picChg>
        <pc:cxnChg chg="add del mod">
          <ac:chgData name="Gina Jones" userId="dd199646-467a-450d-805a-670121e10f03" providerId="ADAL" clId="{D7521E2F-4E96-41A0-A791-149FD4B359A9}" dt="2023-02-28T16:11:29.001" v="2166" actId="478"/>
          <ac:cxnSpMkLst>
            <pc:docMk/>
            <pc:sldMk cId="691277276" sldId="498"/>
            <ac:cxnSpMk id="6" creationId="{22139019-F23B-7F3E-8F8E-FFA383510B64}"/>
          </ac:cxnSpMkLst>
        </pc:cxnChg>
      </pc:sldChg>
      <pc:sldChg chg="addSp delSp modSp new del mod">
        <pc:chgData name="Gina Jones" userId="dd199646-467a-450d-805a-670121e10f03" providerId="ADAL" clId="{D7521E2F-4E96-41A0-A791-149FD4B359A9}" dt="2023-02-28T16:03:16.357" v="1902" actId="47"/>
        <pc:sldMkLst>
          <pc:docMk/>
          <pc:sldMk cId="3706320294" sldId="498"/>
        </pc:sldMkLst>
        <pc:spChg chg="add mod">
          <ac:chgData name="Gina Jones" userId="dd199646-467a-450d-805a-670121e10f03" providerId="ADAL" clId="{D7521E2F-4E96-41A0-A791-149FD4B359A9}" dt="2023-02-28T15:54:32.933" v="1446"/>
          <ac:spMkLst>
            <pc:docMk/>
            <pc:sldMk cId="3706320294" sldId="498"/>
            <ac:spMk id="7" creationId="{638F7AD0-9571-3218-69AF-08501BB26CA7}"/>
          </ac:spMkLst>
        </pc:spChg>
        <pc:graphicFrameChg chg="add del mod modGraphic">
          <ac:chgData name="Gina Jones" userId="dd199646-467a-450d-805a-670121e10f03" providerId="ADAL" clId="{D7521E2F-4E96-41A0-A791-149FD4B359A9}" dt="2023-02-28T15:56:52.350" v="1626" actId="21"/>
          <ac:graphicFrameMkLst>
            <pc:docMk/>
            <pc:sldMk cId="3706320294" sldId="498"/>
            <ac:graphicFrameMk id="5" creationId="{80A173B4-051E-18A8-D4B3-AC15E5D71482}"/>
          </ac:graphicFrameMkLst>
        </pc:graphicFrameChg>
        <pc:graphicFrameChg chg="add del mod">
          <ac:chgData name="Gina Jones" userId="dd199646-467a-450d-805a-670121e10f03" providerId="ADAL" clId="{D7521E2F-4E96-41A0-A791-149FD4B359A9}" dt="2023-02-28T15:56:07.737" v="1504" actId="478"/>
          <ac:graphicFrameMkLst>
            <pc:docMk/>
            <pc:sldMk cId="3706320294" sldId="498"/>
            <ac:graphicFrameMk id="6" creationId="{1D8255C8-3D18-316E-23B1-22DCEE6E1265}"/>
          </ac:graphicFrameMkLst>
        </pc:graphicFrameChg>
        <pc:graphicFrameChg chg="add mod">
          <ac:chgData name="Gina Jones" userId="dd199646-467a-450d-805a-670121e10f03" providerId="ADAL" clId="{D7521E2F-4E96-41A0-A791-149FD4B359A9}" dt="2023-02-28T15:54:32.933" v="1446"/>
          <ac:graphicFrameMkLst>
            <pc:docMk/>
            <pc:sldMk cId="3706320294" sldId="498"/>
            <ac:graphicFrameMk id="8" creationId="{389619A3-6F22-FD8C-8F9E-C1F9BCF2A3F7}"/>
          </ac:graphicFrameMkLst>
        </pc:graphicFrameChg>
        <pc:graphicFrameChg chg="add mod">
          <ac:chgData name="Gina Jones" userId="dd199646-467a-450d-805a-670121e10f03" providerId="ADAL" clId="{D7521E2F-4E96-41A0-A791-149FD4B359A9}" dt="2023-02-28T15:54:43.115" v="1447"/>
          <ac:graphicFrameMkLst>
            <pc:docMk/>
            <pc:sldMk cId="3706320294" sldId="498"/>
            <ac:graphicFrameMk id="9" creationId="{88B7FEC1-5A71-A5F5-EF26-4C3020111E2D}"/>
          </ac:graphicFrameMkLst>
        </pc:graphicFrameChg>
      </pc:sldChg>
      <pc:sldChg chg="addSp delSp modSp add mod">
        <pc:chgData name="Gina Jones" userId="dd199646-467a-450d-805a-670121e10f03" providerId="ADAL" clId="{D7521E2F-4E96-41A0-A791-149FD4B359A9}" dt="2023-02-28T17:39:59.966" v="3940" actId="1076"/>
        <pc:sldMkLst>
          <pc:docMk/>
          <pc:sldMk cId="1709746061" sldId="499"/>
        </pc:sldMkLst>
        <pc:spChg chg="add mod">
          <ac:chgData name="Gina Jones" userId="dd199646-467a-450d-805a-670121e10f03" providerId="ADAL" clId="{D7521E2F-4E96-41A0-A791-149FD4B359A9}" dt="2023-02-28T16:16:18.102" v="2368" actId="1076"/>
          <ac:spMkLst>
            <pc:docMk/>
            <pc:sldMk cId="1709746061" sldId="499"/>
            <ac:spMk id="2" creationId="{B3A7B041-28D6-5D21-08D7-45D2840F4C4B}"/>
          </ac:spMkLst>
        </pc:spChg>
        <pc:spChg chg="del">
          <ac:chgData name="Gina Jones" userId="dd199646-467a-450d-805a-670121e10f03" providerId="ADAL" clId="{D7521E2F-4E96-41A0-A791-149FD4B359A9}" dt="2023-02-28T16:16:07.048" v="2366" actId="478"/>
          <ac:spMkLst>
            <pc:docMk/>
            <pc:sldMk cId="1709746061" sldId="499"/>
            <ac:spMk id="4" creationId="{B20A4416-D123-6836-B5FE-AE45CD77CC1B}"/>
          </ac:spMkLst>
        </pc:spChg>
        <pc:spChg chg="add mod">
          <ac:chgData name="Gina Jones" userId="dd199646-467a-450d-805a-670121e10f03" providerId="ADAL" clId="{D7521E2F-4E96-41A0-A791-149FD4B359A9}" dt="2023-02-28T16:16:18.102" v="2368" actId="1076"/>
          <ac:spMkLst>
            <pc:docMk/>
            <pc:sldMk cId="1709746061" sldId="499"/>
            <ac:spMk id="6" creationId="{928B4BFA-5EFC-140C-D2C2-2DDAFF150CF9}"/>
          </ac:spMkLst>
        </pc:spChg>
        <pc:spChg chg="add mod">
          <ac:chgData name="Gina Jones" userId="dd199646-467a-450d-805a-670121e10f03" providerId="ADAL" clId="{D7521E2F-4E96-41A0-A791-149FD4B359A9}" dt="2023-02-28T16:16:18.102" v="2368" actId="1076"/>
          <ac:spMkLst>
            <pc:docMk/>
            <pc:sldMk cId="1709746061" sldId="499"/>
            <ac:spMk id="7" creationId="{FD1D5AB1-79A3-187A-2C49-B1B7A2298145}"/>
          </ac:spMkLst>
        </pc:spChg>
        <pc:spChg chg="add mod">
          <ac:chgData name="Gina Jones" userId="dd199646-467a-450d-805a-670121e10f03" providerId="ADAL" clId="{D7521E2F-4E96-41A0-A791-149FD4B359A9}" dt="2023-02-28T16:16:18.102" v="2368" actId="1076"/>
          <ac:spMkLst>
            <pc:docMk/>
            <pc:sldMk cId="1709746061" sldId="499"/>
            <ac:spMk id="8" creationId="{F2CA2141-4CBD-F8AB-EFA4-9D225FA83FDC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1" creationId="{EAD84EEA-A997-1B3E-643E-348066F8AFA2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2" creationId="{CF3EE696-E676-7C78-9CB2-6B552FD50B32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3" creationId="{ECBCB1D1-4E52-C99B-D248-23C9712A203D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4" creationId="{23B91CC8-7421-A9D1-86AE-4C6B37DB0D21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5" creationId="{F24F2BD0-5400-61FE-3391-13E78794AA7A}"/>
          </ac:spMkLst>
        </pc:spChg>
        <pc:spChg chg="del">
          <ac:chgData name="Gina Jones" userId="dd199646-467a-450d-805a-670121e10f03" providerId="ADAL" clId="{D7521E2F-4E96-41A0-A791-149FD4B359A9}" dt="2023-02-28T16:16:06.027" v="2365" actId="478"/>
          <ac:spMkLst>
            <pc:docMk/>
            <pc:sldMk cId="1709746061" sldId="499"/>
            <ac:spMk id="16" creationId="{FA4758ED-331B-BBF7-89F2-00A4E9524F3B}"/>
          </ac:spMkLst>
        </pc:spChg>
        <pc:spChg chg="mod">
          <ac:chgData name="Gina Jones" userId="dd199646-467a-450d-805a-670121e10f03" providerId="ADAL" clId="{D7521E2F-4E96-41A0-A791-149FD4B359A9}" dt="2023-02-28T17:39:59.966" v="3940" actId="1076"/>
          <ac:spMkLst>
            <pc:docMk/>
            <pc:sldMk cId="1709746061" sldId="499"/>
            <ac:spMk id="19" creationId="{7483525C-12ED-B752-AF64-1BD71E031B9E}"/>
          </ac:spMkLst>
        </pc:spChg>
        <pc:spChg chg="mod">
          <ac:chgData name="Gina Jones" userId="dd199646-467a-450d-805a-670121e10f03" providerId="ADAL" clId="{D7521E2F-4E96-41A0-A791-149FD4B359A9}" dt="2023-02-28T16:16:52.601" v="2461" actId="20577"/>
          <ac:spMkLst>
            <pc:docMk/>
            <pc:sldMk cId="1709746061" sldId="499"/>
            <ac:spMk id="23" creationId="{BB3E4ACC-76D5-4D26-5C47-2DB1B13E065A}"/>
          </ac:spMkLst>
        </pc:spChg>
        <pc:graphicFrameChg chg="add mod">
          <ac:chgData name="Gina Jones" userId="dd199646-467a-450d-805a-670121e10f03" providerId="ADAL" clId="{D7521E2F-4E96-41A0-A791-149FD4B359A9}" dt="2023-02-28T16:16:18.102" v="2368" actId="1076"/>
          <ac:graphicFrameMkLst>
            <pc:docMk/>
            <pc:sldMk cId="1709746061" sldId="499"/>
            <ac:graphicFrameMk id="3" creationId="{33BD0BFD-8E6B-FDD2-601C-2D6E691F475C}"/>
          </ac:graphicFrameMkLst>
        </pc:graphicFrameChg>
        <pc:graphicFrameChg chg="del">
          <ac:chgData name="Gina Jones" userId="dd199646-467a-450d-805a-670121e10f03" providerId="ADAL" clId="{D7521E2F-4E96-41A0-A791-149FD4B359A9}" dt="2023-02-28T16:16:06.027" v="2365" actId="478"/>
          <ac:graphicFrameMkLst>
            <pc:docMk/>
            <pc:sldMk cId="1709746061" sldId="499"/>
            <ac:graphicFrameMk id="5" creationId="{9103FD2A-C8A1-BFB7-C35E-0C292CCB85EB}"/>
          </ac:graphicFrameMkLst>
        </pc:graphicFrameChg>
        <pc:picChg chg="add mod">
          <ac:chgData name="Gina Jones" userId="dd199646-467a-450d-805a-670121e10f03" providerId="ADAL" clId="{D7521E2F-4E96-41A0-A791-149FD4B359A9}" dt="2023-02-28T17:39:55.105" v="3939" actId="14100"/>
          <ac:picMkLst>
            <pc:docMk/>
            <pc:sldMk cId="1709746061" sldId="499"/>
            <ac:picMk id="3074" creationId="{44FDCC70-5847-0357-C558-E9F57829B7C2}"/>
          </ac:picMkLst>
        </pc:picChg>
      </pc:sldChg>
      <pc:sldChg chg="addSp delSp modSp new mod">
        <pc:chgData name="Gina Jones" userId="dd199646-467a-450d-805a-670121e10f03" providerId="ADAL" clId="{D7521E2F-4E96-41A0-A791-149FD4B359A9}" dt="2023-02-28T17:41:03.833" v="3948" actId="14100"/>
        <pc:sldMkLst>
          <pc:docMk/>
          <pc:sldMk cId="1437195362" sldId="500"/>
        </pc:sldMkLst>
        <pc:spChg chg="add mod">
          <ac:chgData name="Gina Jones" userId="dd199646-467a-450d-805a-670121e10f03" providerId="ADAL" clId="{D7521E2F-4E96-41A0-A791-149FD4B359A9}" dt="2023-02-28T16:26:16.699" v="2669"/>
          <ac:spMkLst>
            <pc:docMk/>
            <pc:sldMk cId="1437195362" sldId="500"/>
            <ac:spMk id="3" creationId="{1FA740B5-60DC-A2AF-93C1-2B16BCBC97E5}"/>
          </ac:spMkLst>
        </pc:spChg>
        <pc:spChg chg="add mod">
          <ac:chgData name="Gina Jones" userId="dd199646-467a-450d-805a-670121e10f03" providerId="ADAL" clId="{D7521E2F-4E96-41A0-A791-149FD4B359A9}" dt="2023-02-28T16:26:16.699" v="2669"/>
          <ac:spMkLst>
            <pc:docMk/>
            <pc:sldMk cId="1437195362" sldId="500"/>
            <ac:spMk id="5" creationId="{2AAE686B-C3F7-6123-CBBF-B819C22C2BB5}"/>
          </ac:spMkLst>
        </pc:spChg>
        <pc:spChg chg="add mod">
          <ac:chgData name="Gina Jones" userId="dd199646-467a-450d-805a-670121e10f03" providerId="ADAL" clId="{D7521E2F-4E96-41A0-A791-149FD4B359A9}" dt="2023-02-28T16:33:23.153" v="2884" actId="20577"/>
          <ac:spMkLst>
            <pc:docMk/>
            <pc:sldMk cId="1437195362" sldId="500"/>
            <ac:spMk id="6" creationId="{6682B1F2-0E44-5981-CCFC-5A79595F5C30}"/>
          </ac:spMkLst>
        </pc:spChg>
        <pc:spChg chg="add del mod">
          <ac:chgData name="Gina Jones" userId="dd199646-467a-450d-805a-670121e10f03" providerId="ADAL" clId="{D7521E2F-4E96-41A0-A791-149FD4B359A9}" dt="2023-02-28T16:27:49.640" v="2721"/>
          <ac:spMkLst>
            <pc:docMk/>
            <pc:sldMk cId="1437195362" sldId="500"/>
            <ac:spMk id="7" creationId="{7DAC96A3-69B4-2B7C-00B1-AB04F5C0EDE4}"/>
          </ac:spMkLst>
        </pc:spChg>
        <pc:spChg chg="add del mod">
          <ac:chgData name="Gina Jones" userId="dd199646-467a-450d-805a-670121e10f03" providerId="ADAL" clId="{D7521E2F-4E96-41A0-A791-149FD4B359A9}" dt="2023-02-28T16:27:49.640" v="2721"/>
          <ac:spMkLst>
            <pc:docMk/>
            <pc:sldMk cId="1437195362" sldId="500"/>
            <ac:spMk id="9" creationId="{5A43F7E6-693E-77EA-A434-78196E205BE0}"/>
          </ac:spMkLst>
        </pc:spChg>
        <pc:spChg chg="add del mod">
          <ac:chgData name="Gina Jones" userId="dd199646-467a-450d-805a-670121e10f03" providerId="ADAL" clId="{D7521E2F-4E96-41A0-A791-149FD4B359A9}" dt="2023-02-28T16:27:49.640" v="2721"/>
          <ac:spMkLst>
            <pc:docMk/>
            <pc:sldMk cId="1437195362" sldId="500"/>
            <ac:spMk id="10" creationId="{B8BF35F5-1DB0-A13B-90AD-8F83141BC232}"/>
          </ac:spMkLst>
        </pc:spChg>
        <pc:spChg chg="add mod">
          <ac:chgData name="Gina Jones" userId="dd199646-467a-450d-805a-670121e10f03" providerId="ADAL" clId="{D7521E2F-4E96-41A0-A791-149FD4B359A9}" dt="2023-02-28T16:28:37.542" v="2828" actId="20577"/>
          <ac:spMkLst>
            <pc:docMk/>
            <pc:sldMk cId="1437195362" sldId="500"/>
            <ac:spMk id="11" creationId="{9734C037-6D0E-C72E-4532-2F142FF241BB}"/>
          </ac:spMkLst>
        </pc:spChg>
        <pc:graphicFrameChg chg="add mod">
          <ac:chgData name="Gina Jones" userId="dd199646-467a-450d-805a-670121e10f03" providerId="ADAL" clId="{D7521E2F-4E96-41A0-A791-149FD4B359A9}" dt="2023-02-28T16:26:01.735" v="2668" actId="1076"/>
          <ac:graphicFrameMkLst>
            <pc:docMk/>
            <pc:sldMk cId="1437195362" sldId="500"/>
            <ac:graphicFrameMk id="2" creationId="{286E83F9-53F1-3A65-7200-BDEF445562FA}"/>
          </ac:graphicFrameMkLst>
        </pc:graphicFrameChg>
        <pc:picChg chg="add mod">
          <ac:chgData name="Gina Jones" userId="dd199646-467a-450d-805a-670121e10f03" providerId="ADAL" clId="{D7521E2F-4E96-41A0-A791-149FD4B359A9}" dt="2023-02-28T16:26:16.699" v="2669"/>
          <ac:picMkLst>
            <pc:docMk/>
            <pc:sldMk cId="1437195362" sldId="500"/>
            <ac:picMk id="4" creationId="{C4E8C805-A880-FE1E-A6E8-492A226727B6}"/>
          </ac:picMkLst>
        </pc:picChg>
        <pc:picChg chg="add del mod">
          <ac:chgData name="Gina Jones" userId="dd199646-467a-450d-805a-670121e10f03" providerId="ADAL" clId="{D7521E2F-4E96-41A0-A791-149FD4B359A9}" dt="2023-02-28T16:27:49.640" v="2721"/>
          <ac:picMkLst>
            <pc:docMk/>
            <pc:sldMk cId="1437195362" sldId="500"/>
            <ac:picMk id="8" creationId="{D1E7F536-4EAD-583D-E83C-32AB3A2B4742}"/>
          </ac:picMkLst>
        </pc:picChg>
        <pc:picChg chg="add mod ord">
          <ac:chgData name="Gina Jones" userId="dd199646-467a-450d-805a-670121e10f03" providerId="ADAL" clId="{D7521E2F-4E96-41A0-A791-149FD4B359A9}" dt="2023-02-28T17:41:03.833" v="3948" actId="14100"/>
          <ac:picMkLst>
            <pc:docMk/>
            <pc:sldMk cId="1437195362" sldId="500"/>
            <ac:picMk id="13" creationId="{BD8605B8-EB98-AB77-6DEF-6D586097E241}"/>
          </ac:picMkLst>
        </pc:picChg>
        <pc:picChg chg="add del mod">
          <ac:chgData name="Gina Jones" userId="dd199646-467a-450d-805a-670121e10f03" providerId="ADAL" clId="{D7521E2F-4E96-41A0-A791-149FD4B359A9}" dt="2023-02-28T17:40:47.212" v="3943" actId="478"/>
          <ac:picMkLst>
            <pc:docMk/>
            <pc:sldMk cId="1437195362" sldId="500"/>
            <ac:picMk id="4098" creationId="{3C841D68-856B-24C3-0FA8-EF898D68FA43}"/>
          </ac:picMkLst>
        </pc:picChg>
      </pc:sldChg>
      <pc:sldChg chg="addSp delSp modSp new mod">
        <pc:chgData name="Gina Jones" userId="dd199646-467a-450d-805a-670121e10f03" providerId="ADAL" clId="{D7521E2F-4E96-41A0-A791-149FD4B359A9}" dt="2023-02-28T17:42:13.664" v="3959" actId="167"/>
        <pc:sldMkLst>
          <pc:docMk/>
          <pc:sldMk cId="3417553060" sldId="501"/>
        </pc:sldMkLst>
        <pc:spChg chg="add mod">
          <ac:chgData name="Gina Jones" userId="dd199646-467a-450d-805a-670121e10f03" providerId="ADAL" clId="{D7521E2F-4E96-41A0-A791-149FD4B359A9}" dt="2023-02-28T16:32:20.541" v="2837"/>
          <ac:spMkLst>
            <pc:docMk/>
            <pc:sldMk cId="3417553060" sldId="501"/>
            <ac:spMk id="3" creationId="{B9D24FE3-8C02-AAAD-70D9-97FF5D9F7AAE}"/>
          </ac:spMkLst>
        </pc:spChg>
        <pc:spChg chg="add mod">
          <ac:chgData name="Gina Jones" userId="dd199646-467a-450d-805a-670121e10f03" providerId="ADAL" clId="{D7521E2F-4E96-41A0-A791-149FD4B359A9}" dt="2023-02-28T16:32:20.541" v="2837"/>
          <ac:spMkLst>
            <pc:docMk/>
            <pc:sldMk cId="3417553060" sldId="501"/>
            <ac:spMk id="5" creationId="{842486B5-4D98-B477-6428-01677F6C921F}"/>
          </ac:spMkLst>
        </pc:spChg>
        <pc:spChg chg="add mod">
          <ac:chgData name="Gina Jones" userId="dd199646-467a-450d-805a-670121e10f03" providerId="ADAL" clId="{D7521E2F-4E96-41A0-A791-149FD4B359A9}" dt="2023-02-28T16:33:35.297" v="2917" actId="20577"/>
          <ac:spMkLst>
            <pc:docMk/>
            <pc:sldMk cId="3417553060" sldId="501"/>
            <ac:spMk id="6" creationId="{2BF81AC9-9EE5-82F6-F36C-60681836F6D2}"/>
          </ac:spMkLst>
        </pc:spChg>
        <pc:spChg chg="add mod">
          <ac:chgData name="Gina Jones" userId="dd199646-467a-450d-805a-670121e10f03" providerId="ADAL" clId="{D7521E2F-4E96-41A0-A791-149FD4B359A9}" dt="2023-02-28T16:32:47.579" v="2872" actId="20577"/>
          <ac:spMkLst>
            <pc:docMk/>
            <pc:sldMk cId="3417553060" sldId="501"/>
            <ac:spMk id="7" creationId="{2D5357FD-7D80-4A39-1A4D-92847F077A61}"/>
          </ac:spMkLst>
        </pc:spChg>
        <pc:graphicFrameChg chg="add mod">
          <ac:chgData name="Gina Jones" userId="dd199646-467a-450d-805a-670121e10f03" providerId="ADAL" clId="{D7521E2F-4E96-41A0-A791-149FD4B359A9}" dt="2023-02-28T16:31:38.890" v="2835" actId="1076"/>
          <ac:graphicFrameMkLst>
            <pc:docMk/>
            <pc:sldMk cId="3417553060" sldId="501"/>
            <ac:graphicFrameMk id="2" creationId="{A3CAD56A-4903-30CF-889A-E14BD9E308F5}"/>
          </ac:graphicFrameMkLst>
        </pc:graphicFrameChg>
        <pc:picChg chg="add mod">
          <ac:chgData name="Gina Jones" userId="dd199646-467a-450d-805a-670121e10f03" providerId="ADAL" clId="{D7521E2F-4E96-41A0-A791-149FD4B359A9}" dt="2023-02-28T16:32:20.541" v="2837"/>
          <ac:picMkLst>
            <pc:docMk/>
            <pc:sldMk cId="3417553060" sldId="501"/>
            <ac:picMk id="4" creationId="{6965E8E1-62C6-F9C8-971C-79555453C143}"/>
          </ac:picMkLst>
        </pc:picChg>
        <pc:picChg chg="add mod ord">
          <ac:chgData name="Gina Jones" userId="dd199646-467a-450d-805a-670121e10f03" providerId="ADAL" clId="{D7521E2F-4E96-41A0-A791-149FD4B359A9}" dt="2023-02-28T17:42:13.664" v="3959" actId="167"/>
          <ac:picMkLst>
            <pc:docMk/>
            <pc:sldMk cId="3417553060" sldId="501"/>
            <ac:picMk id="9" creationId="{252A075C-1D0A-450B-C54D-782DB8530D14}"/>
          </ac:picMkLst>
        </pc:picChg>
        <pc:picChg chg="add del mod">
          <ac:chgData name="Gina Jones" userId="dd199646-467a-450d-805a-670121e10f03" providerId="ADAL" clId="{D7521E2F-4E96-41A0-A791-149FD4B359A9}" dt="2023-02-28T17:41:56.375" v="3953" actId="478"/>
          <ac:picMkLst>
            <pc:docMk/>
            <pc:sldMk cId="3417553060" sldId="501"/>
            <ac:picMk id="5122" creationId="{8F8F898F-FD50-3502-02D3-678A09E04A64}"/>
          </ac:picMkLst>
        </pc:picChg>
      </pc:sldChg>
      <pc:sldChg chg="addSp delSp modSp new mod">
        <pc:chgData name="Gina Jones" userId="dd199646-467a-450d-805a-670121e10f03" providerId="ADAL" clId="{D7521E2F-4E96-41A0-A791-149FD4B359A9}" dt="2023-02-28T17:48:53.597" v="3978" actId="167"/>
        <pc:sldMkLst>
          <pc:docMk/>
          <pc:sldMk cId="698509056" sldId="502"/>
        </pc:sldMkLst>
        <pc:spChg chg="add mod">
          <ac:chgData name="Gina Jones" userId="dd199646-467a-450d-805a-670121e10f03" providerId="ADAL" clId="{D7521E2F-4E96-41A0-A791-149FD4B359A9}" dt="2023-02-28T16:44:58.738" v="2929"/>
          <ac:spMkLst>
            <pc:docMk/>
            <pc:sldMk cId="698509056" sldId="502"/>
            <ac:spMk id="4" creationId="{7B238EEF-68F8-B990-6804-9B506719C7E2}"/>
          </ac:spMkLst>
        </pc:spChg>
        <pc:spChg chg="add mod">
          <ac:chgData name="Gina Jones" userId="dd199646-467a-450d-805a-670121e10f03" providerId="ADAL" clId="{D7521E2F-4E96-41A0-A791-149FD4B359A9}" dt="2023-02-28T16:44:58.738" v="2929"/>
          <ac:spMkLst>
            <pc:docMk/>
            <pc:sldMk cId="698509056" sldId="502"/>
            <ac:spMk id="6" creationId="{1312CC38-4AD3-955B-2161-8DEC0FD451AE}"/>
          </ac:spMkLst>
        </pc:spChg>
        <pc:spChg chg="add mod">
          <ac:chgData name="Gina Jones" userId="dd199646-467a-450d-805a-670121e10f03" providerId="ADAL" clId="{D7521E2F-4E96-41A0-A791-149FD4B359A9}" dt="2023-02-28T16:45:28.028" v="2995" actId="20577"/>
          <ac:spMkLst>
            <pc:docMk/>
            <pc:sldMk cId="698509056" sldId="502"/>
            <ac:spMk id="7" creationId="{5C7F70E9-BCA5-44B6-ABEA-8FDB79948B4F}"/>
          </ac:spMkLst>
        </pc:spChg>
        <pc:spChg chg="add mod">
          <ac:chgData name="Gina Jones" userId="dd199646-467a-450d-805a-670121e10f03" providerId="ADAL" clId="{D7521E2F-4E96-41A0-A791-149FD4B359A9}" dt="2023-02-28T16:45:45.243" v="3070" actId="20577"/>
          <ac:spMkLst>
            <pc:docMk/>
            <pc:sldMk cId="698509056" sldId="502"/>
            <ac:spMk id="8" creationId="{CB20B8CD-7A9A-368B-B680-5CDBAD685B5C}"/>
          </ac:spMkLst>
        </pc:spChg>
        <pc:graphicFrameChg chg="add del mod">
          <ac:chgData name="Gina Jones" userId="dd199646-467a-450d-805a-670121e10f03" providerId="ADAL" clId="{D7521E2F-4E96-41A0-A791-149FD4B359A9}" dt="2023-02-28T16:44:12.120" v="2924"/>
          <ac:graphicFrameMkLst>
            <pc:docMk/>
            <pc:sldMk cId="698509056" sldId="502"/>
            <ac:graphicFrameMk id="2" creationId="{E4004E95-05CF-F227-1B30-499E508FC601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44:23.593" v="2928" actId="14100"/>
          <ac:graphicFrameMkLst>
            <pc:docMk/>
            <pc:sldMk cId="698509056" sldId="502"/>
            <ac:graphicFrameMk id="3" creationId="{D4C80474-7918-5A52-D59F-774E051174DE}"/>
          </ac:graphicFrameMkLst>
        </pc:graphicFrameChg>
        <pc:picChg chg="add mod">
          <ac:chgData name="Gina Jones" userId="dd199646-467a-450d-805a-670121e10f03" providerId="ADAL" clId="{D7521E2F-4E96-41A0-A791-149FD4B359A9}" dt="2023-02-28T16:44:58.738" v="2929"/>
          <ac:picMkLst>
            <pc:docMk/>
            <pc:sldMk cId="698509056" sldId="502"/>
            <ac:picMk id="5" creationId="{A2E9ABEE-C698-1CF3-02A1-CB3FA1D1F4C2}"/>
          </ac:picMkLst>
        </pc:picChg>
        <pc:picChg chg="add mod ord">
          <ac:chgData name="Gina Jones" userId="dd199646-467a-450d-805a-670121e10f03" providerId="ADAL" clId="{D7521E2F-4E96-41A0-A791-149FD4B359A9}" dt="2023-02-28T17:48:53.597" v="3978" actId="167"/>
          <ac:picMkLst>
            <pc:docMk/>
            <pc:sldMk cId="698509056" sldId="502"/>
            <ac:picMk id="10" creationId="{C2367B17-CE16-143C-351A-B51B0F734E88}"/>
          </ac:picMkLst>
        </pc:picChg>
        <pc:picChg chg="add del">
          <ac:chgData name="Gina Jones" userId="dd199646-467a-450d-805a-670121e10f03" providerId="ADAL" clId="{D7521E2F-4E96-41A0-A791-149FD4B359A9}" dt="2023-02-28T17:47:25.015" v="3961" actId="478"/>
          <ac:picMkLst>
            <pc:docMk/>
            <pc:sldMk cId="698509056" sldId="502"/>
            <ac:picMk id="6146" creationId="{D610E8D5-355E-7D69-4426-42DDDAC965FB}"/>
          </ac:picMkLst>
        </pc:picChg>
        <pc:picChg chg="add del">
          <ac:chgData name="Gina Jones" userId="dd199646-467a-450d-805a-670121e10f03" providerId="ADAL" clId="{D7521E2F-4E96-41A0-A791-149FD4B359A9}" dt="2023-02-28T17:47:29.593" v="3963" actId="478"/>
          <ac:picMkLst>
            <pc:docMk/>
            <pc:sldMk cId="698509056" sldId="502"/>
            <ac:picMk id="6148" creationId="{021C1ACC-24E3-1411-A3DE-9D6818778858}"/>
          </ac:picMkLst>
        </pc:picChg>
        <pc:picChg chg="add del mod">
          <ac:chgData name="Gina Jones" userId="dd199646-467a-450d-805a-670121e10f03" providerId="ADAL" clId="{D7521E2F-4E96-41A0-A791-149FD4B359A9}" dt="2023-02-28T17:48:43.675" v="3974" actId="478"/>
          <ac:picMkLst>
            <pc:docMk/>
            <pc:sldMk cId="698509056" sldId="502"/>
            <ac:picMk id="6150" creationId="{993BAADC-E06B-89A2-A8A3-0ACB28F61C39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7:50:28.365" v="3984" actId="167"/>
        <pc:sldMkLst>
          <pc:docMk/>
          <pc:sldMk cId="459048154" sldId="503"/>
        </pc:sldMkLst>
        <pc:spChg chg="mod">
          <ac:chgData name="Gina Jones" userId="dd199646-467a-450d-805a-670121e10f03" providerId="ADAL" clId="{D7521E2F-4E96-41A0-A791-149FD4B359A9}" dt="2023-02-28T16:47:44.226" v="3151" actId="1076"/>
          <ac:spMkLst>
            <pc:docMk/>
            <pc:sldMk cId="459048154" sldId="503"/>
            <ac:spMk id="7" creationId="{5C7F70E9-BCA5-44B6-ABEA-8FDB79948B4F}"/>
          </ac:spMkLst>
        </pc:spChg>
        <pc:spChg chg="mod">
          <ac:chgData name="Gina Jones" userId="dd199646-467a-450d-805a-670121e10f03" providerId="ADAL" clId="{D7521E2F-4E96-41A0-A791-149FD4B359A9}" dt="2023-02-28T16:49:02.154" v="3293" actId="20577"/>
          <ac:spMkLst>
            <pc:docMk/>
            <pc:sldMk cId="459048154" sldId="503"/>
            <ac:spMk id="8" creationId="{CB20B8CD-7A9A-368B-B680-5CDBAD685B5C}"/>
          </ac:spMkLst>
        </pc:spChg>
        <pc:graphicFrameChg chg="add mod">
          <ac:chgData name="Gina Jones" userId="dd199646-467a-450d-805a-670121e10f03" providerId="ADAL" clId="{D7521E2F-4E96-41A0-A791-149FD4B359A9}" dt="2023-02-28T16:47:56.153" v="3152" actId="1076"/>
          <ac:graphicFrameMkLst>
            <pc:docMk/>
            <pc:sldMk cId="459048154" sldId="503"/>
            <ac:graphicFrameMk id="2" creationId="{F2ED629B-6F97-7D91-016D-4C6E37FEEA36}"/>
          </ac:graphicFrameMkLst>
        </pc:graphicFrameChg>
        <pc:graphicFrameChg chg="del">
          <ac:chgData name="Gina Jones" userId="dd199646-467a-450d-805a-670121e10f03" providerId="ADAL" clId="{D7521E2F-4E96-41A0-A791-149FD4B359A9}" dt="2023-02-28T16:46:59.911" v="3074" actId="478"/>
          <ac:graphicFrameMkLst>
            <pc:docMk/>
            <pc:sldMk cId="459048154" sldId="503"/>
            <ac:graphicFrameMk id="3" creationId="{D4C80474-7918-5A52-D59F-774E051174DE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47:56.153" v="3152" actId="1076"/>
          <ac:graphicFrameMkLst>
            <pc:docMk/>
            <pc:sldMk cId="459048154" sldId="503"/>
            <ac:graphicFrameMk id="9" creationId="{65B7B231-28B2-7D8E-0BF1-7C0EEFE2AA33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47:56.153" v="3152" actId="1076"/>
          <ac:graphicFrameMkLst>
            <pc:docMk/>
            <pc:sldMk cId="459048154" sldId="503"/>
            <ac:graphicFrameMk id="10" creationId="{F6A95EE3-37F3-A3D8-51D1-E97537994B51}"/>
          </ac:graphicFrameMkLst>
        </pc:graphicFrameChg>
        <pc:picChg chg="add mod ord">
          <ac:chgData name="Gina Jones" userId="dd199646-467a-450d-805a-670121e10f03" providerId="ADAL" clId="{D7521E2F-4E96-41A0-A791-149FD4B359A9}" dt="2023-02-28T17:50:28.365" v="3984" actId="167"/>
          <ac:picMkLst>
            <pc:docMk/>
            <pc:sldMk cId="459048154" sldId="503"/>
            <ac:picMk id="12" creationId="{A72C0F79-F49C-0038-4D55-6A4993857E21}"/>
          </ac:picMkLst>
        </pc:picChg>
        <pc:picChg chg="add del mod">
          <ac:chgData name="Gina Jones" userId="dd199646-467a-450d-805a-670121e10f03" providerId="ADAL" clId="{D7521E2F-4E96-41A0-A791-149FD4B359A9}" dt="2023-02-28T17:50:21.640" v="3981" actId="478"/>
          <ac:picMkLst>
            <pc:docMk/>
            <pc:sldMk cId="459048154" sldId="503"/>
            <ac:picMk id="7170" creationId="{2A01AB72-0314-AE8A-8552-709D8DA0BC00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7:52:31.973" v="3994" actId="167"/>
        <pc:sldMkLst>
          <pc:docMk/>
          <pc:sldMk cId="2728718159" sldId="504"/>
        </pc:sldMkLst>
        <pc:spChg chg="mod">
          <ac:chgData name="Gina Jones" userId="dd199646-467a-450d-805a-670121e10f03" providerId="ADAL" clId="{D7521E2F-4E96-41A0-A791-149FD4B359A9}" dt="2023-02-28T16:51:10.512" v="3312" actId="207"/>
          <ac:spMkLst>
            <pc:docMk/>
            <pc:sldMk cId="2728718159" sldId="504"/>
            <ac:spMk id="13" creationId="{2D56713B-3823-AC8F-C53B-7FBEB559CCE9}"/>
          </ac:spMkLst>
        </pc:spChg>
        <pc:picChg chg="del">
          <ac:chgData name="Gina Jones" userId="dd199646-467a-450d-805a-670121e10f03" providerId="ADAL" clId="{D7521E2F-4E96-41A0-A791-149FD4B359A9}" dt="2023-02-28T17:52:18.756" v="3991" actId="478"/>
          <ac:picMkLst>
            <pc:docMk/>
            <pc:sldMk cId="2728718159" sldId="504"/>
            <ac:picMk id="7" creationId="{D6A6495A-0304-22D3-BFB4-A18363060FE6}"/>
          </ac:picMkLst>
        </pc:picChg>
        <pc:picChg chg="add mod">
          <ac:chgData name="Gina Jones" userId="dd199646-467a-450d-805a-670121e10f03" providerId="ADAL" clId="{D7521E2F-4E96-41A0-A791-149FD4B359A9}" dt="2023-02-28T17:52:31.973" v="3994" actId="167"/>
          <ac:picMkLst>
            <pc:docMk/>
            <pc:sldMk cId="2728718159" sldId="504"/>
            <ac:picMk id="8194" creationId="{681775EE-EA1D-FFE1-19A7-5C84FFE70975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7:53:33.588" v="4005" actId="167"/>
        <pc:sldMkLst>
          <pc:docMk/>
          <pc:sldMk cId="1920609592" sldId="505"/>
        </pc:sldMkLst>
        <pc:spChg chg="mod">
          <ac:chgData name="Gina Jones" userId="dd199646-467a-450d-805a-670121e10f03" providerId="ADAL" clId="{D7521E2F-4E96-41A0-A791-149FD4B359A9}" dt="2023-02-28T16:53:50.561" v="3349" actId="207"/>
          <ac:spMkLst>
            <pc:docMk/>
            <pc:sldMk cId="1920609592" sldId="505"/>
            <ac:spMk id="43" creationId="{26EF8997-8684-DFD3-EF9F-A6A867BD9545}"/>
          </ac:spMkLst>
        </pc:spChg>
        <pc:spChg chg="mod">
          <ac:chgData name="Gina Jones" userId="dd199646-467a-450d-805a-670121e10f03" providerId="ADAL" clId="{D7521E2F-4E96-41A0-A791-149FD4B359A9}" dt="2023-02-28T16:52:09.524" v="3325" actId="20577"/>
          <ac:spMkLst>
            <pc:docMk/>
            <pc:sldMk cId="1920609592" sldId="505"/>
            <ac:spMk id="44" creationId="{E84ED452-5626-3F62-8902-95BB1BA2F01F}"/>
          </ac:spMkLst>
        </pc:spChg>
        <pc:spChg chg="mod">
          <ac:chgData name="Gina Jones" userId="dd199646-467a-450d-805a-670121e10f03" providerId="ADAL" clId="{D7521E2F-4E96-41A0-A791-149FD4B359A9}" dt="2023-02-28T16:53:50.561" v="3349" actId="207"/>
          <ac:spMkLst>
            <pc:docMk/>
            <pc:sldMk cId="1920609592" sldId="505"/>
            <ac:spMk id="45" creationId="{D23BBBC2-59BB-A228-AE61-F6DA66A581E3}"/>
          </ac:spMkLst>
        </pc:spChg>
        <pc:spChg chg="mod">
          <ac:chgData name="Gina Jones" userId="dd199646-467a-450d-805a-670121e10f03" providerId="ADAL" clId="{D7521E2F-4E96-41A0-A791-149FD4B359A9}" dt="2023-02-28T16:52:44.611" v="3335" actId="20577"/>
          <ac:spMkLst>
            <pc:docMk/>
            <pc:sldMk cId="1920609592" sldId="505"/>
            <ac:spMk id="103" creationId="{AFB95858-AF33-E9F4-CFC7-154700B467B4}"/>
          </ac:spMkLst>
        </pc:spChg>
        <pc:graphicFrameChg chg="add mod">
          <ac:chgData name="Gina Jones" userId="dd199646-467a-450d-805a-670121e10f03" providerId="ADAL" clId="{D7521E2F-4E96-41A0-A791-149FD4B359A9}" dt="2023-02-28T16:53:10.469" v="3339" actId="1076"/>
          <ac:graphicFrameMkLst>
            <pc:docMk/>
            <pc:sldMk cId="1920609592" sldId="505"/>
            <ac:graphicFrameMk id="2" creationId="{87F61638-4900-226C-447E-BEB504B4E141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3:10.469" v="3339" actId="1076"/>
          <ac:graphicFrameMkLst>
            <pc:docMk/>
            <pc:sldMk cId="1920609592" sldId="505"/>
            <ac:graphicFrameMk id="3" creationId="{BC40CF0C-D5C8-8EC4-F2E7-F11508C13CD2}"/>
          </ac:graphicFrameMkLst>
        </pc:graphicFrameChg>
        <pc:graphicFrameChg chg="del">
          <ac:chgData name="Gina Jones" userId="dd199646-467a-450d-805a-670121e10f03" providerId="ADAL" clId="{D7521E2F-4E96-41A0-A791-149FD4B359A9}" dt="2023-02-28T16:53:01.623" v="3336" actId="478"/>
          <ac:graphicFrameMkLst>
            <pc:docMk/>
            <pc:sldMk cId="1920609592" sldId="505"/>
            <ac:graphicFrameMk id="12" creationId="{F0B40125-C5AC-D34F-B9DB-15FAF5BFA5E3}"/>
          </ac:graphicFrameMkLst>
        </pc:graphicFrameChg>
        <pc:graphicFrameChg chg="del">
          <ac:chgData name="Gina Jones" userId="dd199646-467a-450d-805a-670121e10f03" providerId="ADAL" clId="{D7521E2F-4E96-41A0-A791-149FD4B359A9}" dt="2023-02-28T16:53:06.288" v="3337" actId="478"/>
          <ac:graphicFrameMkLst>
            <pc:docMk/>
            <pc:sldMk cId="1920609592" sldId="505"/>
            <ac:graphicFrameMk id="13" creationId="{0337D512-9463-EB08-4694-2FEB60C51277}"/>
          </ac:graphicFrameMkLst>
        </pc:graphicFrameChg>
        <pc:picChg chg="add mod ord">
          <ac:chgData name="Gina Jones" userId="dd199646-467a-450d-805a-670121e10f03" providerId="ADAL" clId="{D7521E2F-4E96-41A0-A791-149FD4B359A9}" dt="2023-02-28T17:53:33.588" v="4005" actId="167"/>
          <ac:picMkLst>
            <pc:docMk/>
            <pc:sldMk cId="1920609592" sldId="505"/>
            <ac:picMk id="5" creationId="{FF4F488F-42B8-20D7-E078-9BCD541893B3}"/>
          </ac:picMkLst>
        </pc:picChg>
        <pc:picChg chg="del">
          <ac:chgData name="Gina Jones" userId="dd199646-467a-450d-805a-670121e10f03" providerId="ADAL" clId="{D7521E2F-4E96-41A0-A791-149FD4B359A9}" dt="2023-02-28T17:52:53.918" v="3995" actId="478"/>
          <ac:picMkLst>
            <pc:docMk/>
            <pc:sldMk cId="1920609592" sldId="505"/>
            <ac:picMk id="11" creationId="{A88FE49C-A3E8-C445-F2CD-C2D67E3BCEED}"/>
          </ac:picMkLst>
        </pc:picChg>
        <pc:picChg chg="mod">
          <ac:chgData name="Gina Jones" userId="dd199646-467a-450d-805a-670121e10f03" providerId="ADAL" clId="{D7521E2F-4E96-41A0-A791-149FD4B359A9}" dt="2023-02-28T16:53:50.561" v="3349" actId="207"/>
          <ac:picMkLst>
            <pc:docMk/>
            <pc:sldMk cId="1920609592" sldId="505"/>
            <ac:picMk id="41" creationId="{6CECE494-3042-573B-2E43-47EBAD84E038}"/>
          </ac:picMkLst>
        </pc:picChg>
        <pc:picChg chg="add del mod">
          <ac:chgData name="Gina Jones" userId="dd199646-467a-450d-805a-670121e10f03" providerId="ADAL" clId="{D7521E2F-4E96-41A0-A791-149FD4B359A9}" dt="2023-02-28T17:53:25.952" v="4002" actId="478"/>
          <ac:picMkLst>
            <pc:docMk/>
            <pc:sldMk cId="1920609592" sldId="505"/>
            <ac:picMk id="9218" creationId="{AB343C69-051E-F48F-8E2C-5B21E729AA37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8:06:10.071" v="4094" actId="120"/>
        <pc:sldMkLst>
          <pc:docMk/>
          <pc:sldMk cId="3193492798" sldId="506"/>
        </pc:sldMkLst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4" creationId="{5C211EED-E484-6E9C-8EDC-56407E2D86BB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6" creationId="{020BE61C-29ED-9D8A-7C60-7B99F7C9DEB5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7" creationId="{893C1B13-6BE2-80D3-EC3F-3AF33A44724C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8" creationId="{D9C0A03B-C48A-9A54-961F-223CFF1B9C75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9" creationId="{BB5AEF4A-C0C8-DD7E-A0D0-71367AE7FC8C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10" creationId="{704AEE3C-7315-2C6B-4E87-17951B498C9C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11" creationId="{F1C3E08A-A27A-5E88-0D7E-F6B95FC6C25A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12" creationId="{52151666-60CD-2993-D425-3BF74F1D7120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13" creationId="{F82D8D64-51EB-A96B-C8A5-61C7CC0FA96C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14" creationId="{2B5FEE92-32C4-789D-C831-A6C1B4CBE62E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15" creationId="{72C1FF35-3B6D-5CD4-41F7-1D21BF72769F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23" creationId="{7A69DB8F-0042-44D2-7213-A19A81C596DD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26" creationId="{2AD89084-2BA2-2B6B-E0C3-1580757CB470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27" creationId="{FFC6D55A-733B-7176-09DA-ED2DEE7B4863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28" creationId="{AA1F74DA-D20D-00B8-DF66-A5F9B9E02A94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29" creationId="{7E792C2D-E2D5-249A-A0C4-1446B76E4D74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0" creationId="{A9315B87-0C1B-3A2B-02A6-98700171C1EA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1" creationId="{327C09A9-CBD1-1D4B-65EC-505AC4B3600C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2" creationId="{9859DBC6-407D-F365-566D-28AB92BDCBC9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3" creationId="{B3B4FCE7-7BB3-5614-E11E-F7C18BD33F13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4" creationId="{4C3A53EC-D0F1-5353-5BDB-E230D0AE78CB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5" creationId="{4615F2CB-9194-5B43-333D-0536B74301F3}"/>
          </ac:spMkLst>
        </pc:spChg>
        <pc:spChg chg="del">
          <ac:chgData name="Gina Jones" userId="dd199646-467a-450d-805a-670121e10f03" providerId="ADAL" clId="{D7521E2F-4E96-41A0-A791-149FD4B359A9}" dt="2023-02-28T16:54:46.855" v="3361" actId="478"/>
          <ac:spMkLst>
            <pc:docMk/>
            <pc:sldMk cId="3193492798" sldId="506"/>
            <ac:spMk id="36" creationId="{9F431B4D-9F18-137C-D2E4-D8252C3BD0E8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37" creationId="{1D301CE0-0AB8-0BD4-3E1F-FB242D5B1873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38" creationId="{1CE5F519-9724-7BE9-C5BD-5FDA3E7427CB}"/>
          </ac:spMkLst>
        </pc:spChg>
        <pc:spChg chg="mod">
          <ac:chgData name="Gina Jones" userId="dd199646-467a-450d-805a-670121e10f03" providerId="ADAL" clId="{D7521E2F-4E96-41A0-A791-149FD4B359A9}" dt="2023-02-28T16:54:32.489" v="3360" actId="20577"/>
          <ac:spMkLst>
            <pc:docMk/>
            <pc:sldMk cId="3193492798" sldId="506"/>
            <ac:spMk id="43" creationId="{26EF8997-8684-DFD3-EF9F-A6A867BD9545}"/>
          </ac:spMkLst>
        </pc:spChg>
        <pc:spChg chg="mod">
          <ac:chgData name="Gina Jones" userId="dd199646-467a-450d-805a-670121e10f03" providerId="ADAL" clId="{D7521E2F-4E96-41A0-A791-149FD4B359A9}" dt="2023-02-28T16:56:09.689" v="3456" actId="120"/>
          <ac:spMkLst>
            <pc:docMk/>
            <pc:sldMk cId="3193492798" sldId="506"/>
            <ac:spMk id="44" creationId="{E84ED452-5626-3F62-8902-95BB1BA2F01F}"/>
          </ac:spMkLst>
        </pc:spChg>
        <pc:spChg chg="mod">
          <ac:chgData name="Gina Jones" userId="dd199646-467a-450d-805a-670121e10f03" providerId="ADAL" clId="{D7521E2F-4E96-41A0-A791-149FD4B359A9}" dt="2023-02-28T16:54:27.139" v="3351" actId="207"/>
          <ac:spMkLst>
            <pc:docMk/>
            <pc:sldMk cId="3193492798" sldId="506"/>
            <ac:spMk id="45" creationId="{D23BBBC2-59BB-A228-AE61-F6DA66A581E3}"/>
          </ac:spMkLst>
        </pc:spChg>
        <pc:spChg chg="mod">
          <ac:chgData name="Gina Jones" userId="dd199646-467a-450d-805a-670121e10f03" providerId="ADAL" clId="{D7521E2F-4E96-41A0-A791-149FD4B359A9}" dt="2023-02-28T18:06:10.071" v="4094" actId="120"/>
          <ac:spMkLst>
            <pc:docMk/>
            <pc:sldMk cId="3193492798" sldId="506"/>
            <ac:spMk id="49" creationId="{26520422-CF14-A301-0F26-75CB699FA256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56" creationId="{49A42644-1A2F-6C89-A266-888D8DE2F557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57" creationId="{6C0425D0-7EE7-3F68-673D-2F4BD3617373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58" creationId="{64B910E1-F78E-6F4F-0FC4-6CDCDEAC998D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60" creationId="{612C4FD4-551A-D542-FD88-CEF255ADBFFE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61" creationId="{43DA3B7D-403F-55D7-D4F1-5B447ADB4E7D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62" creationId="{CE8219DF-3BCC-1751-CE63-229433C3729C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63" creationId="{8CCA0B58-044B-24C0-B554-8EC585070C74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1" creationId="{B75A6B89-B8E2-D5BF-E694-D957564C7429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3" creationId="{4759BA08-C516-47E0-81E4-541701F77B4A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4" creationId="{750F2883-AD3D-47E7-328A-3239BAC8C9E4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5" creationId="{C9ECA0D9-168A-84E8-1D8A-15F9A127E19A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6" creationId="{51D6661D-74D8-C985-12A9-FF8F29B7D17D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7" creationId="{CBFE5A63-DC58-3397-BA8C-1B91E94EF2B9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8" creationId="{CABE487A-FE5F-BAFD-47A3-ABE6CA0586C9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79" creationId="{329CE7B0-5380-3D7B-2D9B-3A9F0BDFF438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80" creationId="{3A334DF3-8132-F9A9-1A9E-C549FD244279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81" creationId="{233391C7-8A11-9051-8705-D7861FF139F3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82" creationId="{BA2151AD-0A48-4D92-9E11-657F6F95E2DD}"/>
          </ac:spMkLst>
        </pc:spChg>
        <pc:spChg chg="add mod">
          <ac:chgData name="Gina Jones" userId="dd199646-467a-450d-805a-670121e10f03" providerId="ADAL" clId="{D7521E2F-4E96-41A0-A791-149FD4B359A9}" dt="2023-02-28T16:55:16.392" v="3385" actId="1037"/>
          <ac:spMkLst>
            <pc:docMk/>
            <pc:sldMk cId="3193492798" sldId="506"/>
            <ac:spMk id="83" creationId="{07567F9A-7FF7-3DB9-F011-822556222D65}"/>
          </ac:spMkLst>
        </pc:spChg>
        <pc:spChg chg="add del">
          <ac:chgData name="Gina Jones" userId="dd199646-467a-450d-805a-670121e10f03" providerId="ADAL" clId="{D7521E2F-4E96-41A0-A791-149FD4B359A9}" dt="2023-02-28T17:54:43.089" v="4007" actId="22"/>
          <ac:spMkLst>
            <pc:docMk/>
            <pc:sldMk cId="3193492798" sldId="506"/>
            <ac:spMk id="96" creationId="{D5D1AABF-BD05-4FBC-A5FD-4290420F1C2C}"/>
          </ac:spMkLst>
        </pc:sp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39" creationId="{919B31C4-99C4-AC23-855F-F1A1BA6C1057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40" creationId="{CE3EE4B4-9E8D-55DD-A885-064C2AB0EBCE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46" creationId="{7987666E-5EDE-E68E-6975-B6A30B7C41E1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47" creationId="{4FFF4D99-225D-3E34-1421-19D964824B6F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48" creationId="{ECB533C0-A92A-C115-107B-469683E0443F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0" creationId="{8542BABA-54A1-3FD0-BCA2-868B1C4642EA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1" creationId="{F0FA314C-DD01-0B51-442C-2FE17ECC3B5B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2" creationId="{B727D884-4D42-541A-44CC-DB24B0DF42BF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3" creationId="{B86E824F-308D-53C6-D346-4F95F8F92F4B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4" creationId="{BE79CB2A-6B94-DF8E-6E82-0C722785C2DA}"/>
          </ac:graphicFrameMkLst>
        </pc:graphicFrameChg>
        <pc:graphicFrameChg chg="del">
          <ac:chgData name="Gina Jones" userId="dd199646-467a-450d-805a-670121e10f03" providerId="ADAL" clId="{D7521E2F-4E96-41A0-A791-149FD4B359A9}" dt="2023-02-28T16:54:46.855" v="3361" actId="478"/>
          <ac:graphicFrameMkLst>
            <pc:docMk/>
            <pc:sldMk cId="3193492798" sldId="506"/>
            <ac:graphicFrameMk id="55" creationId="{F8AFE7C5-1513-DD38-69E4-1C311BA58881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4" creationId="{52E6CB1D-EA77-3AD4-8EDF-6D9038931750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5" creationId="{8F20479D-5CAF-450D-B77C-F68B79462285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6" creationId="{BABD9A91-F8C2-47BE-283E-A3EDDD306372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7" creationId="{410FAB86-1604-3EF5-E36A-5E9C3D86DD4A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8" creationId="{B72EBEC0-D1B7-BF99-09C6-8F9BD37D4AAE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89" creationId="{42530BC4-974D-3B4A-8EED-2517A0A0BF06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90" creationId="{DD3A808A-AA4B-69F2-15E4-6BCBB1737C82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91" creationId="{B71F7537-3C5F-2166-8DE5-A846C4020BA3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92" creationId="{2FE0D531-2FEF-A455-B556-1DB7BA017F42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93" creationId="{01349A97-9811-CEEB-4F82-B483826894DD}"/>
          </ac:graphicFrameMkLst>
        </pc:graphicFrameChg>
        <pc:graphicFrameChg chg="add mod">
          <ac:chgData name="Gina Jones" userId="dd199646-467a-450d-805a-670121e10f03" providerId="ADAL" clId="{D7521E2F-4E96-41A0-A791-149FD4B359A9}" dt="2023-02-28T16:55:16.392" v="3385" actId="1037"/>
          <ac:graphicFrameMkLst>
            <pc:docMk/>
            <pc:sldMk cId="3193492798" sldId="506"/>
            <ac:graphicFrameMk id="94" creationId="{BD79CBD5-43FD-92AE-B84D-791B375C2BC0}"/>
          </ac:graphicFrameMkLst>
        </pc:graphicFrameChg>
        <pc:picChg chg="mod">
          <ac:chgData name="Gina Jones" userId="dd199646-467a-450d-805a-670121e10f03" providerId="ADAL" clId="{D7521E2F-4E96-41A0-A791-149FD4B359A9}" dt="2023-02-28T16:54:27.139" v="3351" actId="207"/>
          <ac:picMkLst>
            <pc:docMk/>
            <pc:sldMk cId="3193492798" sldId="506"/>
            <ac:picMk id="41" creationId="{6CECE494-3042-573B-2E43-47EBAD84E038}"/>
          </ac:picMkLst>
        </pc:picChg>
        <pc:picChg chg="del mod">
          <ac:chgData name="Gina Jones" userId="dd199646-467a-450d-805a-670121e10f03" providerId="ADAL" clId="{D7521E2F-4E96-41A0-A791-149FD4B359A9}" dt="2023-02-28T17:55:21.170" v="4012" actId="478"/>
          <ac:picMkLst>
            <pc:docMk/>
            <pc:sldMk cId="3193492798" sldId="506"/>
            <ac:picMk id="59" creationId="{22BA38C3-E5B1-3FF9-8408-ECBD6AFED9C7}"/>
          </ac:picMkLst>
        </pc:picChg>
        <pc:picChg chg="add mod ord">
          <ac:chgData name="Gina Jones" userId="dd199646-467a-450d-805a-670121e10f03" providerId="ADAL" clId="{D7521E2F-4E96-41A0-A791-149FD4B359A9}" dt="2023-02-28T17:55:56.825" v="4021" actId="167"/>
          <ac:picMkLst>
            <pc:docMk/>
            <pc:sldMk cId="3193492798" sldId="506"/>
            <ac:picMk id="98" creationId="{C7E65F86-E107-E7E0-CD73-6EF458BDBF3D}"/>
          </ac:picMkLst>
        </pc:picChg>
        <pc:picChg chg="add del mod">
          <ac:chgData name="Gina Jones" userId="dd199646-467a-450d-805a-670121e10f03" providerId="ADAL" clId="{D7521E2F-4E96-41A0-A791-149FD4B359A9}" dt="2023-02-28T17:55:50.107" v="4018" actId="478"/>
          <ac:picMkLst>
            <pc:docMk/>
            <pc:sldMk cId="3193492798" sldId="506"/>
            <ac:picMk id="10242" creationId="{0756ECCF-62B4-E1EF-BB0A-718F7251C709}"/>
          </ac:picMkLst>
        </pc:pic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2" creationId="{1B239A70-284D-9B49-8C98-B3CCC1248E9A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3" creationId="{25B14B95-5CDC-6BAA-09AD-D463B683DCB8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5" creationId="{FB454D1A-8A8E-E560-5005-51AA28291D9F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16" creationId="{58620A0D-19AD-59DF-7AA6-6F601223E2EA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17" creationId="{E503A21C-0419-8E5F-4201-8A3A80F4A915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18" creationId="{705D2943-41C2-C429-35B5-A159BC0784C4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19" creationId="{957724EF-242C-AC65-BB0E-B95E81724F63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20" creationId="{AB765A63-8A02-C7E6-7A3F-D79F3C400C6F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21" creationId="{34A9814A-63F6-8660-BF81-D6B261604580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22" creationId="{FA7DD112-07A6-7E17-ACAE-2FC074384019}"/>
          </ac:cxnSpMkLst>
        </pc:cxnChg>
        <pc:cxnChg chg="del mod">
          <ac:chgData name="Gina Jones" userId="dd199646-467a-450d-805a-670121e10f03" providerId="ADAL" clId="{D7521E2F-4E96-41A0-A791-149FD4B359A9}" dt="2023-02-28T16:54:46.855" v="3361" actId="478"/>
          <ac:cxnSpMkLst>
            <pc:docMk/>
            <pc:sldMk cId="3193492798" sldId="506"/>
            <ac:cxnSpMk id="24" creationId="{37456B2C-6EAF-EB54-D89F-B60C55FA825D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25" creationId="{EDEA7DFA-1910-1483-62EC-3FB96B1B386B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4" creationId="{04B6D888-24DD-1FAE-ED57-E86A1E1988A6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5" creationId="{66F000DE-00D4-FFB5-0217-998FB42862AD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6" creationId="{7532DACA-CB91-6D66-4065-3095A4E5C137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7" creationId="{2E7447D3-9DEB-09BB-0B98-BFDB1227273C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8" creationId="{FF1D4DEE-A2FE-CD50-320A-9932CF7DBDED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69" creationId="{FF1CCABB-2746-C661-FF18-A2992C81D5C9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70" creationId="{B079036F-811F-7F7B-0B14-4FA5BAC80430}"/>
          </ac:cxnSpMkLst>
        </pc:cxnChg>
        <pc:cxnChg chg="add mod">
          <ac:chgData name="Gina Jones" userId="dd199646-467a-450d-805a-670121e10f03" providerId="ADAL" clId="{D7521E2F-4E96-41A0-A791-149FD4B359A9}" dt="2023-02-28T16:55:16.392" v="3385" actId="1037"/>
          <ac:cxnSpMkLst>
            <pc:docMk/>
            <pc:sldMk cId="3193492798" sldId="506"/>
            <ac:cxnSpMk id="72" creationId="{62B89F88-BF9C-704F-68A4-9455E5869184}"/>
          </ac:cxnSpMkLst>
        </pc:cxnChg>
      </pc:sldChg>
      <pc:sldChg chg="addSp delSp modSp add mod">
        <pc:chgData name="Gina Jones" userId="dd199646-467a-450d-805a-670121e10f03" providerId="ADAL" clId="{D7521E2F-4E96-41A0-A791-149FD4B359A9}" dt="2023-02-28T18:06:24.880" v="4095" actId="120"/>
        <pc:sldMkLst>
          <pc:docMk/>
          <pc:sldMk cId="401592882" sldId="507"/>
        </pc:sldMkLst>
        <pc:spChg chg="mod">
          <ac:chgData name="Gina Jones" userId="dd199646-467a-450d-805a-670121e10f03" providerId="ADAL" clId="{D7521E2F-4E96-41A0-A791-149FD4B359A9}" dt="2023-02-28T18:06:24.880" v="4095" actId="120"/>
          <ac:spMkLst>
            <pc:docMk/>
            <pc:sldMk cId="401592882" sldId="507"/>
            <ac:spMk id="8" creationId="{4580C2EF-430A-ACC7-7EA5-DD4929597673}"/>
          </ac:spMkLst>
        </pc:spChg>
        <pc:spChg chg="mod">
          <ac:chgData name="Gina Jones" userId="dd199646-467a-450d-805a-670121e10f03" providerId="ADAL" clId="{D7521E2F-4E96-41A0-A791-149FD4B359A9}" dt="2023-02-28T16:57:36.714" v="3461" actId="207"/>
          <ac:spMkLst>
            <pc:docMk/>
            <pc:sldMk cId="401592882" sldId="507"/>
            <ac:spMk id="9" creationId="{ED310433-6DE7-4ACC-BCC7-1A63FD549F89}"/>
          </ac:spMkLst>
        </pc:spChg>
        <pc:spChg chg="mod">
          <ac:chgData name="Gina Jones" userId="dd199646-467a-450d-805a-670121e10f03" providerId="ADAL" clId="{D7521E2F-4E96-41A0-A791-149FD4B359A9}" dt="2023-02-28T16:57:41.202" v="3470" actId="20577"/>
          <ac:spMkLst>
            <pc:docMk/>
            <pc:sldMk cId="401592882" sldId="507"/>
            <ac:spMk id="11" creationId="{C773DF54-D744-56C5-58FA-CDCC8D19EA2A}"/>
          </ac:spMkLst>
        </pc:spChg>
        <pc:spChg chg="mod">
          <ac:chgData name="Gina Jones" userId="dd199646-467a-450d-805a-670121e10f03" providerId="ADAL" clId="{D7521E2F-4E96-41A0-A791-149FD4B359A9}" dt="2023-02-28T17:01:28.364" v="3620" actId="20577"/>
          <ac:spMkLst>
            <pc:docMk/>
            <pc:sldMk cId="401592882" sldId="507"/>
            <ac:spMk id="15" creationId="{0865D66C-E660-FD0B-A16D-0F5DCD76C083}"/>
          </ac:spMkLst>
        </pc:spChg>
        <pc:graphicFrameChg chg="add mod">
          <ac:chgData name="Gina Jones" userId="dd199646-467a-450d-805a-670121e10f03" providerId="ADAL" clId="{D7521E2F-4E96-41A0-A791-149FD4B359A9}" dt="2023-02-28T17:00:59.415" v="3617" actId="1076"/>
          <ac:graphicFrameMkLst>
            <pc:docMk/>
            <pc:sldMk cId="401592882" sldId="507"/>
            <ac:graphicFrameMk id="2" creationId="{7A5E5B00-DE33-2F95-574D-46B20168041C}"/>
          </ac:graphicFrameMkLst>
        </pc:graphicFrameChg>
        <pc:graphicFrameChg chg="del modGraphic">
          <ac:chgData name="Gina Jones" userId="dd199646-467a-450d-805a-670121e10f03" providerId="ADAL" clId="{D7521E2F-4E96-41A0-A791-149FD4B359A9}" dt="2023-02-28T16:57:30.218" v="3460" actId="478"/>
          <ac:graphicFrameMkLst>
            <pc:docMk/>
            <pc:sldMk cId="401592882" sldId="507"/>
            <ac:graphicFrameMk id="16" creationId="{D1F81568-211D-17A9-241E-D49C14236E84}"/>
          </ac:graphicFrameMkLst>
        </pc:graphicFrameChg>
        <pc:picChg chg="add mod ord">
          <ac:chgData name="Gina Jones" userId="dd199646-467a-450d-805a-670121e10f03" providerId="ADAL" clId="{D7521E2F-4E96-41A0-A791-149FD4B359A9}" dt="2023-02-28T17:57:52.993" v="4031" actId="167"/>
          <ac:picMkLst>
            <pc:docMk/>
            <pc:sldMk cId="401592882" sldId="507"/>
            <ac:picMk id="4" creationId="{6E21D0FC-763B-F34C-5388-BC021DF4A1C1}"/>
          </ac:picMkLst>
        </pc:picChg>
        <pc:picChg chg="del">
          <ac:chgData name="Gina Jones" userId="dd199646-467a-450d-805a-670121e10f03" providerId="ADAL" clId="{D7521E2F-4E96-41A0-A791-149FD4B359A9}" dt="2023-02-28T17:57:06.693" v="4022" actId="478"/>
          <ac:picMkLst>
            <pc:docMk/>
            <pc:sldMk cId="401592882" sldId="507"/>
            <ac:picMk id="5" creationId="{FBDE8BE2-E8D5-B54E-96D0-48B35FE140BB}"/>
          </ac:picMkLst>
        </pc:picChg>
        <pc:picChg chg="mod">
          <ac:chgData name="Gina Jones" userId="dd199646-467a-450d-805a-670121e10f03" providerId="ADAL" clId="{D7521E2F-4E96-41A0-A791-149FD4B359A9}" dt="2023-02-28T16:57:36.714" v="3461" actId="207"/>
          <ac:picMkLst>
            <pc:docMk/>
            <pc:sldMk cId="401592882" sldId="507"/>
            <ac:picMk id="10" creationId="{EEEA6F88-03E7-B355-24CA-DD8A19BAF49F}"/>
          </ac:picMkLst>
        </pc:picChg>
        <pc:picChg chg="add del mod">
          <ac:chgData name="Gina Jones" userId="dd199646-467a-450d-805a-670121e10f03" providerId="ADAL" clId="{D7521E2F-4E96-41A0-A791-149FD4B359A9}" dt="2023-02-28T17:57:33.738" v="4025" actId="478"/>
          <ac:picMkLst>
            <pc:docMk/>
            <pc:sldMk cId="401592882" sldId="507"/>
            <ac:picMk id="11266" creationId="{92272C5F-5D24-7691-20BA-54F6BA1C4821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7:59:02.840" v="4041" actId="167"/>
        <pc:sldMkLst>
          <pc:docMk/>
          <pc:sldMk cId="1821541528" sldId="508"/>
        </pc:sldMkLst>
        <pc:spChg chg="add mod">
          <ac:chgData name="Gina Jones" userId="dd199646-467a-450d-805a-670121e10f03" providerId="ADAL" clId="{D7521E2F-4E96-41A0-A791-149FD4B359A9}" dt="2023-02-28T17:09:14.324" v="3690" actId="1076"/>
          <ac:spMkLst>
            <pc:docMk/>
            <pc:sldMk cId="1821541528" sldId="508"/>
            <ac:spMk id="2" creationId="{F68B535C-F1DA-9E8C-E6A8-C132E35EC0D4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4" creationId="{B20A4416-D123-6836-B5FE-AE45CD77CC1B}"/>
          </ac:spMkLst>
        </pc:spChg>
        <pc:spChg chg="add mod">
          <ac:chgData name="Gina Jones" userId="dd199646-467a-450d-805a-670121e10f03" providerId="ADAL" clId="{D7521E2F-4E96-41A0-A791-149FD4B359A9}" dt="2023-02-28T17:09:14.324" v="3690" actId="1076"/>
          <ac:spMkLst>
            <pc:docMk/>
            <pc:sldMk cId="1821541528" sldId="508"/>
            <ac:spMk id="7" creationId="{0B635125-97DA-7185-4E07-3D387A126C5E}"/>
          </ac:spMkLst>
        </pc:spChg>
        <pc:spChg chg="add mod">
          <ac:chgData name="Gina Jones" userId="dd199646-467a-450d-805a-670121e10f03" providerId="ADAL" clId="{D7521E2F-4E96-41A0-A791-149FD4B359A9}" dt="2023-02-28T17:09:14.324" v="3690" actId="1076"/>
          <ac:spMkLst>
            <pc:docMk/>
            <pc:sldMk cId="1821541528" sldId="508"/>
            <ac:spMk id="8" creationId="{6775EFD1-671E-5583-5FF4-A2DCB1FDA6D4}"/>
          </ac:spMkLst>
        </pc:spChg>
        <pc:spChg chg="add mod">
          <ac:chgData name="Gina Jones" userId="dd199646-467a-450d-805a-670121e10f03" providerId="ADAL" clId="{D7521E2F-4E96-41A0-A791-149FD4B359A9}" dt="2023-02-28T17:09:14.324" v="3690" actId="1076"/>
          <ac:spMkLst>
            <pc:docMk/>
            <pc:sldMk cId="1821541528" sldId="508"/>
            <ac:spMk id="9" creationId="{8BA1A41F-8763-3C2B-D3A4-9659FA7713BB}"/>
          </ac:spMkLst>
        </pc:spChg>
        <pc:spChg chg="add mod">
          <ac:chgData name="Gina Jones" userId="dd199646-467a-450d-805a-670121e10f03" providerId="ADAL" clId="{D7521E2F-4E96-41A0-A791-149FD4B359A9}" dt="2023-02-28T17:09:14.324" v="3690" actId="1076"/>
          <ac:spMkLst>
            <pc:docMk/>
            <pc:sldMk cId="1821541528" sldId="508"/>
            <ac:spMk id="10" creationId="{27988900-DDC5-895F-1C36-40750C530333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1" creationId="{EAD84EEA-A997-1B3E-643E-348066F8AFA2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2" creationId="{CF3EE696-E676-7C78-9CB2-6B552FD50B32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3" creationId="{ECBCB1D1-4E52-C99B-D248-23C9712A203D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4" creationId="{23B91CC8-7421-A9D1-86AE-4C6B37DB0D21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5" creationId="{F24F2BD0-5400-61FE-3391-13E78794AA7A}"/>
          </ac:spMkLst>
        </pc:spChg>
        <pc:spChg chg="del">
          <ac:chgData name="Gina Jones" userId="dd199646-467a-450d-805a-670121e10f03" providerId="ADAL" clId="{D7521E2F-4E96-41A0-A791-149FD4B359A9}" dt="2023-02-28T17:08:47.308" v="3682" actId="478"/>
          <ac:spMkLst>
            <pc:docMk/>
            <pc:sldMk cId="1821541528" sldId="508"/>
            <ac:spMk id="16" creationId="{FA4758ED-331B-BBF7-89F2-00A4E9524F3B}"/>
          </ac:spMkLst>
        </pc:spChg>
        <pc:spChg chg="mod">
          <ac:chgData name="Gina Jones" userId="dd199646-467a-450d-805a-670121e10f03" providerId="ADAL" clId="{D7521E2F-4E96-41A0-A791-149FD4B359A9}" dt="2023-02-28T17:09:09.054" v="3689" actId="20577"/>
          <ac:spMkLst>
            <pc:docMk/>
            <pc:sldMk cId="1821541528" sldId="508"/>
            <ac:spMk id="19" creationId="{7483525C-12ED-B752-AF64-1BD71E031B9E}"/>
          </ac:spMkLst>
        </pc:spChg>
        <pc:spChg chg="mod">
          <ac:chgData name="Gina Jones" userId="dd199646-467a-450d-805a-670121e10f03" providerId="ADAL" clId="{D7521E2F-4E96-41A0-A791-149FD4B359A9}" dt="2023-02-28T17:08:20.334" v="3653" actId="207"/>
          <ac:spMkLst>
            <pc:docMk/>
            <pc:sldMk cId="1821541528" sldId="508"/>
            <ac:spMk id="20" creationId="{A16FEE8A-9DD1-DCA4-9E0F-91472B1B0A68}"/>
          </ac:spMkLst>
        </pc:spChg>
        <pc:spChg chg="mod">
          <ac:chgData name="Gina Jones" userId="dd199646-467a-450d-805a-670121e10f03" providerId="ADAL" clId="{D7521E2F-4E96-41A0-A791-149FD4B359A9}" dt="2023-02-28T17:08:28.795" v="3680" actId="20577"/>
          <ac:spMkLst>
            <pc:docMk/>
            <pc:sldMk cId="1821541528" sldId="508"/>
            <ac:spMk id="22" creationId="{C3D410EA-E87B-3BDD-0FAB-4F4008B4C3CD}"/>
          </ac:spMkLst>
        </pc:spChg>
        <pc:graphicFrameChg chg="add mod">
          <ac:chgData name="Gina Jones" userId="dd199646-467a-450d-805a-670121e10f03" providerId="ADAL" clId="{D7521E2F-4E96-41A0-A791-149FD4B359A9}" dt="2023-02-28T17:09:14.324" v="3690" actId="1076"/>
          <ac:graphicFrameMkLst>
            <pc:docMk/>
            <pc:sldMk cId="1821541528" sldId="508"/>
            <ac:graphicFrameMk id="3" creationId="{39470EA4-36B5-412C-60CB-C9206540B19F}"/>
          </ac:graphicFrameMkLst>
        </pc:graphicFrameChg>
        <pc:graphicFrameChg chg="del modGraphic">
          <ac:chgData name="Gina Jones" userId="dd199646-467a-450d-805a-670121e10f03" providerId="ADAL" clId="{D7521E2F-4E96-41A0-A791-149FD4B359A9}" dt="2023-02-28T17:08:47.308" v="3682" actId="478"/>
          <ac:graphicFrameMkLst>
            <pc:docMk/>
            <pc:sldMk cId="1821541528" sldId="508"/>
            <ac:graphicFrameMk id="5" creationId="{9103FD2A-C8A1-BFB7-C35E-0C292CCB85EB}"/>
          </ac:graphicFrameMkLst>
        </pc:graphicFrameChg>
        <pc:picChg chg="add mod ord">
          <ac:chgData name="Gina Jones" userId="dd199646-467a-450d-805a-670121e10f03" providerId="ADAL" clId="{D7521E2F-4E96-41A0-A791-149FD4B359A9}" dt="2023-02-28T17:59:02.840" v="4041" actId="167"/>
          <ac:picMkLst>
            <pc:docMk/>
            <pc:sldMk cId="1821541528" sldId="508"/>
            <ac:picMk id="18" creationId="{B46016D3-00D3-4FC9-BEDB-03D5E0A0A0EB}"/>
          </ac:picMkLst>
        </pc:picChg>
        <pc:picChg chg="mod">
          <ac:chgData name="Gina Jones" userId="dd199646-467a-450d-805a-670121e10f03" providerId="ADAL" clId="{D7521E2F-4E96-41A0-A791-149FD4B359A9}" dt="2023-02-28T17:08:20.334" v="3653" actId="207"/>
          <ac:picMkLst>
            <pc:docMk/>
            <pc:sldMk cId="1821541528" sldId="508"/>
            <ac:picMk id="21" creationId="{8757CB70-0172-295C-9C49-8E4644BD7AE8}"/>
          </ac:picMkLst>
        </pc:picChg>
        <pc:picChg chg="add del mod">
          <ac:chgData name="Gina Jones" userId="dd199646-467a-450d-805a-670121e10f03" providerId="ADAL" clId="{D7521E2F-4E96-41A0-A791-149FD4B359A9}" dt="2023-02-28T17:58:54.737" v="4038" actId="478"/>
          <ac:picMkLst>
            <pc:docMk/>
            <pc:sldMk cId="1821541528" sldId="508"/>
            <ac:picMk id="12290" creationId="{ABA6EA6D-AE25-6276-1AE4-EFFFD62FAC7E}"/>
          </ac:picMkLst>
        </pc:picChg>
        <pc:cxnChg chg="add del mod">
          <ac:chgData name="Gina Jones" userId="dd199646-467a-450d-805a-670121e10f03" providerId="ADAL" clId="{D7521E2F-4E96-41A0-A791-149FD4B359A9}" dt="2023-02-28T17:08:56.656" v="3685" actId="478"/>
          <ac:cxnSpMkLst>
            <pc:docMk/>
            <pc:sldMk cId="1821541528" sldId="508"/>
            <ac:cxnSpMk id="6" creationId="{6ABCA8C1-0C11-C26A-CBCF-2ABE7A69E0F9}"/>
          </ac:cxnSpMkLst>
        </pc:cxnChg>
      </pc:sldChg>
      <pc:sldChg chg="addSp delSp modSp add mod">
        <pc:chgData name="Gina Jones" userId="dd199646-467a-450d-805a-670121e10f03" providerId="ADAL" clId="{D7521E2F-4E96-41A0-A791-149FD4B359A9}" dt="2023-02-28T18:02:28.118" v="4065" actId="14100"/>
        <pc:sldMkLst>
          <pc:docMk/>
          <pc:sldMk cId="4004145286" sldId="509"/>
        </pc:sldMkLst>
        <pc:spChg chg="del">
          <ac:chgData name="Gina Jones" userId="dd199646-467a-450d-805a-670121e10f03" providerId="ADAL" clId="{D7521E2F-4E96-41A0-A791-149FD4B359A9}" dt="2023-02-28T17:09:29.747" v="3692" actId="478"/>
          <ac:spMkLst>
            <pc:docMk/>
            <pc:sldMk cId="4004145286" sldId="509"/>
            <ac:spMk id="2" creationId="{B3A7B041-28D6-5D21-08D7-45D2840F4C4B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4" creationId="{B95D3089-1933-C773-BC3C-CA024948D257}"/>
          </ac:spMkLst>
        </pc:spChg>
        <pc:spChg chg="del">
          <ac:chgData name="Gina Jones" userId="dd199646-467a-450d-805a-670121e10f03" providerId="ADAL" clId="{D7521E2F-4E96-41A0-A791-149FD4B359A9}" dt="2023-02-28T17:09:29.747" v="3692" actId="478"/>
          <ac:spMkLst>
            <pc:docMk/>
            <pc:sldMk cId="4004145286" sldId="509"/>
            <ac:spMk id="6" creationId="{928B4BFA-5EFC-140C-D2C2-2DDAFF150CF9}"/>
          </ac:spMkLst>
        </pc:spChg>
        <pc:spChg chg="del">
          <ac:chgData name="Gina Jones" userId="dd199646-467a-450d-805a-670121e10f03" providerId="ADAL" clId="{D7521E2F-4E96-41A0-A791-149FD4B359A9}" dt="2023-02-28T17:09:29.747" v="3692" actId="478"/>
          <ac:spMkLst>
            <pc:docMk/>
            <pc:sldMk cId="4004145286" sldId="509"/>
            <ac:spMk id="7" creationId="{FD1D5AB1-79A3-187A-2C49-B1B7A2298145}"/>
          </ac:spMkLst>
        </pc:spChg>
        <pc:spChg chg="del">
          <ac:chgData name="Gina Jones" userId="dd199646-467a-450d-805a-670121e10f03" providerId="ADAL" clId="{D7521E2F-4E96-41A0-A791-149FD4B359A9}" dt="2023-02-28T17:09:29.747" v="3692" actId="478"/>
          <ac:spMkLst>
            <pc:docMk/>
            <pc:sldMk cId="4004145286" sldId="509"/>
            <ac:spMk id="8" creationId="{F2CA2141-4CBD-F8AB-EFA4-9D225FA83FDC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9" creationId="{8478849D-690B-6B35-8CBE-22775571E5E3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10" creationId="{820B32A3-4E38-4C0E-7FEE-40B034A1AE65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11" creationId="{FA482259-50EB-6B00-15CF-BB30657032CB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12" creationId="{D93D7D64-9C77-9852-0025-86CA4D6D5BC9}"/>
          </ac:spMkLst>
        </pc:spChg>
        <pc:spChg chg="add mod">
          <ac:chgData name="Gina Jones" userId="dd199646-467a-450d-805a-670121e10f03" providerId="ADAL" clId="{D7521E2F-4E96-41A0-A791-149FD4B359A9}" dt="2023-02-28T17:09:59.671" v="3715" actId="1076"/>
          <ac:spMkLst>
            <pc:docMk/>
            <pc:sldMk cId="4004145286" sldId="509"/>
            <ac:spMk id="13" creationId="{CDDC1F1E-2955-7874-D0C3-91FBC7D9A415}"/>
          </ac:spMkLst>
        </pc:spChg>
        <pc:spChg chg="add del">
          <ac:chgData name="Gina Jones" userId="dd199646-467a-450d-805a-670121e10f03" providerId="ADAL" clId="{D7521E2F-4E96-41A0-A791-149FD4B359A9}" dt="2023-02-28T18:00:08.209" v="4043" actId="478"/>
          <ac:spMkLst>
            <pc:docMk/>
            <pc:sldMk cId="4004145286" sldId="509"/>
            <ac:spMk id="15" creationId="{9C1B60BE-1E9E-70EC-BF5C-DC7277D293C5}"/>
          </ac:spMkLst>
        </pc:spChg>
        <pc:spChg chg="mod">
          <ac:chgData name="Gina Jones" userId="dd199646-467a-450d-805a-670121e10f03" providerId="ADAL" clId="{D7521E2F-4E96-41A0-A791-149FD4B359A9}" dt="2023-02-28T17:09:37.972" v="3693" actId="207"/>
          <ac:spMkLst>
            <pc:docMk/>
            <pc:sldMk cId="4004145286" sldId="509"/>
            <ac:spMk id="20" creationId="{A16FEE8A-9DD1-DCA4-9E0F-91472B1B0A68}"/>
          </ac:spMkLst>
        </pc:spChg>
        <pc:spChg chg="mod">
          <ac:chgData name="Gina Jones" userId="dd199646-467a-450d-805a-670121e10f03" providerId="ADAL" clId="{D7521E2F-4E96-41A0-A791-149FD4B359A9}" dt="2023-02-28T17:09:45.725" v="3712" actId="20577"/>
          <ac:spMkLst>
            <pc:docMk/>
            <pc:sldMk cId="4004145286" sldId="509"/>
            <ac:spMk id="22" creationId="{C3D410EA-E87B-3BDD-0FAB-4F4008B4C3CD}"/>
          </ac:spMkLst>
        </pc:spChg>
        <pc:spChg chg="mod">
          <ac:chgData name="Gina Jones" userId="dd199646-467a-450d-805a-670121e10f03" providerId="ADAL" clId="{D7521E2F-4E96-41A0-A791-149FD4B359A9}" dt="2023-02-28T17:10:27.296" v="3721" actId="20577"/>
          <ac:spMkLst>
            <pc:docMk/>
            <pc:sldMk cId="4004145286" sldId="509"/>
            <ac:spMk id="23" creationId="{BB3E4ACC-76D5-4D26-5C47-2DB1B13E065A}"/>
          </ac:spMkLst>
        </pc:spChg>
        <pc:graphicFrameChg chg="del">
          <ac:chgData name="Gina Jones" userId="dd199646-467a-450d-805a-670121e10f03" providerId="ADAL" clId="{D7521E2F-4E96-41A0-A791-149FD4B359A9}" dt="2023-02-28T17:09:29.747" v="3692" actId="478"/>
          <ac:graphicFrameMkLst>
            <pc:docMk/>
            <pc:sldMk cId="4004145286" sldId="509"/>
            <ac:graphicFrameMk id="3" creationId="{33BD0BFD-8E6B-FDD2-601C-2D6E691F475C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09:59.671" v="3715" actId="1076"/>
          <ac:graphicFrameMkLst>
            <pc:docMk/>
            <pc:sldMk cId="4004145286" sldId="509"/>
            <ac:graphicFrameMk id="5" creationId="{6A119423-745B-6A35-D1AB-323C7B9AB16E}"/>
          </ac:graphicFrameMkLst>
        </pc:graphicFrameChg>
        <pc:picChg chg="add del mod">
          <ac:chgData name="Gina Jones" userId="dd199646-467a-450d-805a-670121e10f03" providerId="ADAL" clId="{D7521E2F-4E96-41A0-A791-149FD4B359A9}" dt="2023-02-28T18:00:41.742" v="4051" actId="21"/>
          <ac:picMkLst>
            <pc:docMk/>
            <pc:sldMk cId="4004145286" sldId="509"/>
            <ac:picMk id="17" creationId="{47DE1FF4-FF75-4EB6-07C9-1FB34874D6A5}"/>
          </ac:picMkLst>
        </pc:picChg>
        <pc:picChg chg="mod">
          <ac:chgData name="Gina Jones" userId="dd199646-467a-450d-805a-670121e10f03" providerId="ADAL" clId="{D7521E2F-4E96-41A0-A791-149FD4B359A9}" dt="2023-02-28T17:09:37.972" v="3693" actId="207"/>
          <ac:picMkLst>
            <pc:docMk/>
            <pc:sldMk cId="4004145286" sldId="509"/>
            <ac:picMk id="21" creationId="{8757CB70-0172-295C-9C49-8E4644BD7AE8}"/>
          </ac:picMkLst>
        </pc:picChg>
        <pc:picChg chg="add mod ord">
          <ac:chgData name="Gina Jones" userId="dd199646-467a-450d-805a-670121e10f03" providerId="ADAL" clId="{D7521E2F-4E96-41A0-A791-149FD4B359A9}" dt="2023-02-28T18:02:28.118" v="4065" actId="14100"/>
          <ac:picMkLst>
            <pc:docMk/>
            <pc:sldMk cId="4004145286" sldId="509"/>
            <ac:picMk id="24" creationId="{4AFF7317-B73A-89A1-C203-9EC24714B7C2}"/>
          </ac:picMkLst>
        </pc:picChg>
        <pc:picChg chg="add del mod">
          <ac:chgData name="Gina Jones" userId="dd199646-467a-450d-805a-670121e10f03" providerId="ADAL" clId="{D7521E2F-4E96-41A0-A791-149FD4B359A9}" dt="2023-02-28T18:00:33.919" v="4048" actId="478"/>
          <ac:picMkLst>
            <pc:docMk/>
            <pc:sldMk cId="4004145286" sldId="509"/>
            <ac:picMk id="13314" creationId="{716CAEA6-BF09-5178-E7AC-F663B322CAE0}"/>
          </ac:picMkLst>
        </pc:picChg>
        <pc:picChg chg="add del mod">
          <ac:chgData name="Gina Jones" userId="dd199646-467a-450d-805a-670121e10f03" providerId="ADAL" clId="{D7521E2F-4E96-41A0-A791-149FD4B359A9}" dt="2023-02-28T18:02:09.466" v="4059" actId="478"/>
          <ac:picMkLst>
            <pc:docMk/>
            <pc:sldMk cId="4004145286" sldId="509"/>
            <ac:picMk id="13316" creationId="{6010569E-7E53-32C6-C7F7-E763FCD8F387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8:05:50.814" v="4093" actId="167"/>
        <pc:sldMkLst>
          <pc:docMk/>
          <pc:sldMk cId="678421538" sldId="510"/>
        </pc:sldMkLst>
        <pc:spChg chg="mod">
          <ac:chgData name="Gina Jones" userId="dd199646-467a-450d-805a-670121e10f03" providerId="ADAL" clId="{D7521E2F-4E96-41A0-A791-149FD4B359A9}" dt="2023-02-28T17:12:21.260" v="3748" actId="207"/>
          <ac:spMkLst>
            <pc:docMk/>
            <pc:sldMk cId="678421538" sldId="510"/>
            <ac:spMk id="4" creationId="{7B238EEF-68F8-B990-6804-9B506719C7E2}"/>
          </ac:spMkLst>
        </pc:spChg>
        <pc:spChg chg="mod">
          <ac:chgData name="Gina Jones" userId="dd199646-467a-450d-805a-670121e10f03" providerId="ADAL" clId="{D7521E2F-4E96-41A0-A791-149FD4B359A9}" dt="2023-02-28T17:12:21.260" v="3748" actId="207"/>
          <ac:spMkLst>
            <pc:docMk/>
            <pc:sldMk cId="678421538" sldId="510"/>
            <ac:spMk id="6" creationId="{1312CC38-4AD3-955B-2161-8DEC0FD451AE}"/>
          </ac:spMkLst>
        </pc:spChg>
        <pc:spChg chg="mod">
          <ac:chgData name="Gina Jones" userId="dd199646-467a-450d-805a-670121e10f03" providerId="ADAL" clId="{D7521E2F-4E96-41A0-A791-149FD4B359A9}" dt="2023-02-28T17:12:05.402" v="3738" actId="20577"/>
          <ac:spMkLst>
            <pc:docMk/>
            <pc:sldMk cId="678421538" sldId="510"/>
            <ac:spMk id="8" creationId="{CB20B8CD-7A9A-368B-B680-5CDBAD685B5C}"/>
          </ac:spMkLst>
        </pc:spChg>
        <pc:graphicFrameChg chg="del">
          <ac:chgData name="Gina Jones" userId="dd199646-467a-450d-805a-670121e10f03" providerId="ADAL" clId="{D7521E2F-4E96-41A0-A791-149FD4B359A9}" dt="2023-02-28T17:11:17.809" v="3725" actId="478"/>
          <ac:graphicFrameMkLst>
            <pc:docMk/>
            <pc:sldMk cId="678421538" sldId="510"/>
            <ac:graphicFrameMk id="2" creationId="{F2ED629B-6F97-7D91-016D-4C6E37FEEA36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11:27.554" v="3728" actId="1076"/>
          <ac:graphicFrameMkLst>
            <pc:docMk/>
            <pc:sldMk cId="678421538" sldId="510"/>
            <ac:graphicFrameMk id="3" creationId="{468B9323-FE12-6C5F-8065-6F129184A807}"/>
          </ac:graphicFrameMkLst>
        </pc:graphicFrameChg>
        <pc:graphicFrameChg chg="del">
          <ac:chgData name="Gina Jones" userId="dd199646-467a-450d-805a-670121e10f03" providerId="ADAL" clId="{D7521E2F-4E96-41A0-A791-149FD4B359A9}" dt="2023-02-28T17:11:17.809" v="3725" actId="478"/>
          <ac:graphicFrameMkLst>
            <pc:docMk/>
            <pc:sldMk cId="678421538" sldId="510"/>
            <ac:graphicFrameMk id="9" creationId="{65B7B231-28B2-7D8E-0BF1-7C0EEFE2AA33}"/>
          </ac:graphicFrameMkLst>
        </pc:graphicFrameChg>
        <pc:graphicFrameChg chg="del">
          <ac:chgData name="Gina Jones" userId="dd199646-467a-450d-805a-670121e10f03" providerId="ADAL" clId="{D7521E2F-4E96-41A0-A791-149FD4B359A9}" dt="2023-02-28T17:11:17.809" v="3725" actId="478"/>
          <ac:graphicFrameMkLst>
            <pc:docMk/>
            <pc:sldMk cId="678421538" sldId="510"/>
            <ac:graphicFrameMk id="10" creationId="{F6A95EE3-37F3-A3D8-51D1-E97537994B51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11:27.554" v="3728" actId="1076"/>
          <ac:graphicFrameMkLst>
            <pc:docMk/>
            <pc:sldMk cId="678421538" sldId="510"/>
            <ac:graphicFrameMk id="11" creationId="{CB20E42E-1054-024E-6428-18A635C999D3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11:27.554" v="3728" actId="1076"/>
          <ac:graphicFrameMkLst>
            <pc:docMk/>
            <pc:sldMk cId="678421538" sldId="510"/>
            <ac:graphicFrameMk id="12" creationId="{620AD55A-C48D-4493-B577-4C4D11BB890D}"/>
          </ac:graphicFrameMkLst>
        </pc:graphicFrameChg>
        <pc:picChg chg="mod">
          <ac:chgData name="Gina Jones" userId="dd199646-467a-450d-805a-670121e10f03" providerId="ADAL" clId="{D7521E2F-4E96-41A0-A791-149FD4B359A9}" dt="2023-02-28T17:12:21.260" v="3748" actId="207"/>
          <ac:picMkLst>
            <pc:docMk/>
            <pc:sldMk cId="678421538" sldId="510"/>
            <ac:picMk id="5" creationId="{A2E9ABEE-C698-1CF3-02A1-CB3FA1D1F4C2}"/>
          </ac:picMkLst>
        </pc:picChg>
        <pc:picChg chg="add mod ord">
          <ac:chgData name="Gina Jones" userId="dd199646-467a-450d-805a-670121e10f03" providerId="ADAL" clId="{D7521E2F-4E96-41A0-A791-149FD4B359A9}" dt="2023-02-28T18:05:50.814" v="4093" actId="167"/>
          <ac:picMkLst>
            <pc:docMk/>
            <pc:sldMk cId="678421538" sldId="510"/>
            <ac:picMk id="14" creationId="{A616672D-F614-5BA1-DD42-EC5237D400EC}"/>
          </ac:picMkLst>
        </pc:picChg>
        <pc:picChg chg="add del mod">
          <ac:chgData name="Gina Jones" userId="dd199646-467a-450d-805a-670121e10f03" providerId="ADAL" clId="{D7521E2F-4E96-41A0-A791-149FD4B359A9}" dt="2023-02-28T18:05:44.577" v="4090" actId="478"/>
          <ac:picMkLst>
            <pc:docMk/>
            <pc:sldMk cId="678421538" sldId="510"/>
            <ac:picMk id="17410" creationId="{BBF328E7-CEFB-90F9-D332-BAD5C9B61F79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8:00:51.353" v="4053" actId="167"/>
        <pc:sldMkLst>
          <pc:docMk/>
          <pc:sldMk cId="807471442" sldId="511"/>
        </pc:sldMkLst>
        <pc:spChg chg="mod">
          <ac:chgData name="Gina Jones" userId="dd199646-467a-450d-805a-670121e10f03" providerId="ADAL" clId="{D7521E2F-4E96-41A0-A791-149FD4B359A9}" dt="2023-02-28T17:14:33.420" v="3768" actId="207"/>
          <ac:spMkLst>
            <pc:docMk/>
            <pc:sldMk cId="807471442" sldId="511"/>
            <ac:spMk id="3" creationId="{1FA740B5-60DC-A2AF-93C1-2B16BCBC97E5}"/>
          </ac:spMkLst>
        </pc:spChg>
        <pc:spChg chg="mod">
          <ac:chgData name="Gina Jones" userId="dd199646-467a-450d-805a-670121e10f03" providerId="ADAL" clId="{D7521E2F-4E96-41A0-A791-149FD4B359A9}" dt="2023-02-28T17:14:33.420" v="3768" actId="207"/>
          <ac:spMkLst>
            <pc:docMk/>
            <pc:sldMk cId="807471442" sldId="511"/>
            <ac:spMk id="5" creationId="{2AAE686B-C3F7-6123-CBBF-B819C22C2BB5}"/>
          </ac:spMkLst>
        </pc:spChg>
        <pc:spChg chg="mod">
          <ac:chgData name="Gina Jones" userId="dd199646-467a-450d-805a-670121e10f03" providerId="ADAL" clId="{D7521E2F-4E96-41A0-A791-149FD4B359A9}" dt="2023-02-28T17:16:44.246" v="3857" actId="20577"/>
          <ac:spMkLst>
            <pc:docMk/>
            <pc:sldMk cId="807471442" sldId="511"/>
            <ac:spMk id="6" creationId="{6682B1F2-0E44-5981-CCFC-5A79595F5C30}"/>
          </ac:spMkLst>
        </pc:spChg>
        <pc:graphicFrameChg chg="del">
          <ac:chgData name="Gina Jones" userId="dd199646-467a-450d-805a-670121e10f03" providerId="ADAL" clId="{D7521E2F-4E96-41A0-A791-149FD4B359A9}" dt="2023-02-28T17:14:50.234" v="3769" actId="478"/>
          <ac:graphicFrameMkLst>
            <pc:docMk/>
            <pc:sldMk cId="807471442" sldId="511"/>
            <ac:graphicFrameMk id="2" creationId="{286E83F9-53F1-3A65-7200-BDEF445562FA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14:55.963" v="3773" actId="1076"/>
          <ac:graphicFrameMkLst>
            <pc:docMk/>
            <pc:sldMk cId="807471442" sldId="511"/>
            <ac:graphicFrameMk id="7" creationId="{ECB41C42-64FD-0A0B-5D15-3FF369F6A3A3}"/>
          </ac:graphicFrameMkLst>
        </pc:graphicFrameChg>
        <pc:picChg chg="mod">
          <ac:chgData name="Gina Jones" userId="dd199646-467a-450d-805a-670121e10f03" providerId="ADAL" clId="{D7521E2F-4E96-41A0-A791-149FD4B359A9}" dt="2023-02-28T17:14:33.420" v="3768" actId="207"/>
          <ac:picMkLst>
            <pc:docMk/>
            <pc:sldMk cId="807471442" sldId="511"/>
            <ac:picMk id="4" creationId="{C4E8C805-A880-FE1E-A6E8-492A226727B6}"/>
          </ac:picMkLst>
        </pc:picChg>
        <pc:picChg chg="add mod ord">
          <ac:chgData name="Gina Jones" userId="dd199646-467a-450d-805a-670121e10f03" providerId="ADAL" clId="{D7521E2F-4E96-41A0-A791-149FD4B359A9}" dt="2023-02-28T18:00:51.353" v="4053" actId="167"/>
          <ac:picMkLst>
            <pc:docMk/>
            <pc:sldMk cId="807471442" sldId="511"/>
            <ac:picMk id="8" creationId="{7308AAC4-3E73-2826-02D5-1209345BFCBD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8:03:20.054" v="4074" actId="167"/>
        <pc:sldMkLst>
          <pc:docMk/>
          <pc:sldMk cId="3631383470" sldId="512"/>
        </pc:sldMkLst>
        <pc:spChg chg="mod">
          <ac:chgData name="Gina Jones" userId="dd199646-467a-450d-805a-670121e10f03" providerId="ADAL" clId="{D7521E2F-4E96-41A0-A791-149FD4B359A9}" dt="2023-02-28T17:18:21.444" v="3865" actId="207"/>
          <ac:spMkLst>
            <pc:docMk/>
            <pc:sldMk cId="3631383470" sldId="512"/>
            <ac:spMk id="3" creationId="{B9D24FE3-8C02-AAAD-70D9-97FF5D9F7AAE}"/>
          </ac:spMkLst>
        </pc:spChg>
        <pc:spChg chg="mod">
          <ac:chgData name="Gina Jones" userId="dd199646-467a-450d-805a-670121e10f03" providerId="ADAL" clId="{D7521E2F-4E96-41A0-A791-149FD4B359A9}" dt="2023-02-28T17:18:25.861" v="3874" actId="20577"/>
          <ac:spMkLst>
            <pc:docMk/>
            <pc:sldMk cId="3631383470" sldId="512"/>
            <ac:spMk id="5" creationId="{842486B5-4D98-B477-6428-01677F6C921F}"/>
          </ac:spMkLst>
        </pc:spChg>
        <pc:graphicFrameChg chg="del">
          <ac:chgData name="Gina Jones" userId="dd199646-467a-450d-805a-670121e10f03" providerId="ADAL" clId="{D7521E2F-4E96-41A0-A791-149FD4B359A9}" dt="2023-02-28T17:18:32.620" v="3875" actId="478"/>
          <ac:graphicFrameMkLst>
            <pc:docMk/>
            <pc:sldMk cId="3631383470" sldId="512"/>
            <ac:graphicFrameMk id="2" creationId="{A3CAD56A-4903-30CF-889A-E14BD9E308F5}"/>
          </ac:graphicFrameMkLst>
        </pc:graphicFrameChg>
        <pc:graphicFrameChg chg="add mod">
          <ac:chgData name="Gina Jones" userId="dd199646-467a-450d-805a-670121e10f03" providerId="ADAL" clId="{D7521E2F-4E96-41A0-A791-149FD4B359A9}" dt="2023-02-28T17:18:40.146" v="3879" actId="1076"/>
          <ac:graphicFrameMkLst>
            <pc:docMk/>
            <pc:sldMk cId="3631383470" sldId="512"/>
            <ac:graphicFrameMk id="8" creationId="{21EDD68D-D104-24D2-38DE-BD5D52ECBF97}"/>
          </ac:graphicFrameMkLst>
        </pc:graphicFrameChg>
        <pc:picChg chg="mod">
          <ac:chgData name="Gina Jones" userId="dd199646-467a-450d-805a-670121e10f03" providerId="ADAL" clId="{D7521E2F-4E96-41A0-A791-149FD4B359A9}" dt="2023-02-28T17:18:21.444" v="3865" actId="207"/>
          <ac:picMkLst>
            <pc:docMk/>
            <pc:sldMk cId="3631383470" sldId="512"/>
            <ac:picMk id="4" creationId="{6965E8E1-62C6-F9C8-971C-79555453C143}"/>
          </ac:picMkLst>
        </pc:picChg>
        <pc:picChg chg="add mod ord">
          <ac:chgData name="Gina Jones" userId="dd199646-467a-450d-805a-670121e10f03" providerId="ADAL" clId="{D7521E2F-4E96-41A0-A791-149FD4B359A9}" dt="2023-02-28T18:03:20.054" v="4074" actId="167"/>
          <ac:picMkLst>
            <pc:docMk/>
            <pc:sldMk cId="3631383470" sldId="512"/>
            <ac:picMk id="10" creationId="{0279A1F2-3FC9-E1AF-A8C9-E301862A16AA}"/>
          </ac:picMkLst>
        </pc:picChg>
        <pc:picChg chg="add del mod">
          <ac:chgData name="Gina Jones" userId="dd199646-467a-450d-805a-670121e10f03" providerId="ADAL" clId="{D7521E2F-4E96-41A0-A791-149FD4B359A9}" dt="2023-02-28T18:03:13.440" v="4071" actId="478"/>
          <ac:picMkLst>
            <pc:docMk/>
            <pc:sldMk cId="3631383470" sldId="512"/>
            <ac:picMk id="15362" creationId="{6E1E76B3-EF7E-A1C7-5F12-E990993C7F47}"/>
          </ac:picMkLst>
        </pc:picChg>
      </pc:sldChg>
      <pc:sldChg chg="delSp modSp add del mod">
        <pc:chgData name="Gina Jones" userId="dd199646-467a-450d-805a-670121e10f03" providerId="ADAL" clId="{D7521E2F-4E96-41A0-A791-149FD4B359A9}" dt="2023-02-28T17:22:33.895" v="3903" actId="47"/>
        <pc:sldMkLst>
          <pc:docMk/>
          <pc:sldMk cId="45958047" sldId="513"/>
        </pc:sldMkLst>
        <pc:spChg chg="mod">
          <ac:chgData name="Gina Jones" userId="dd199646-467a-450d-805a-670121e10f03" providerId="ADAL" clId="{D7521E2F-4E96-41A0-A791-149FD4B359A9}" dt="2023-02-28T17:21:37.611" v="3888" actId="207"/>
          <ac:spMkLst>
            <pc:docMk/>
            <pc:sldMk cId="45958047" sldId="513"/>
            <ac:spMk id="4" creationId="{7B238EEF-68F8-B990-6804-9B506719C7E2}"/>
          </ac:spMkLst>
        </pc:spChg>
        <pc:spChg chg="mod">
          <ac:chgData name="Gina Jones" userId="dd199646-467a-450d-805a-670121e10f03" providerId="ADAL" clId="{D7521E2F-4E96-41A0-A791-149FD4B359A9}" dt="2023-02-28T17:21:44.294" v="3897" actId="20577"/>
          <ac:spMkLst>
            <pc:docMk/>
            <pc:sldMk cId="45958047" sldId="513"/>
            <ac:spMk id="6" creationId="{1312CC38-4AD3-955B-2161-8DEC0FD451AE}"/>
          </ac:spMkLst>
        </pc:spChg>
        <pc:graphicFrameChg chg="del">
          <ac:chgData name="Gina Jones" userId="dd199646-467a-450d-805a-670121e10f03" providerId="ADAL" clId="{D7521E2F-4E96-41A0-A791-149FD4B359A9}" dt="2023-02-28T17:21:47.020" v="3898" actId="478"/>
          <ac:graphicFrameMkLst>
            <pc:docMk/>
            <pc:sldMk cId="45958047" sldId="513"/>
            <ac:graphicFrameMk id="3" creationId="{D4C80474-7918-5A52-D59F-774E051174DE}"/>
          </ac:graphicFrameMkLst>
        </pc:graphicFrameChg>
        <pc:picChg chg="mod">
          <ac:chgData name="Gina Jones" userId="dd199646-467a-450d-805a-670121e10f03" providerId="ADAL" clId="{D7521E2F-4E96-41A0-A791-149FD4B359A9}" dt="2023-02-28T17:21:37.611" v="3888" actId="207"/>
          <ac:picMkLst>
            <pc:docMk/>
            <pc:sldMk cId="45958047" sldId="513"/>
            <ac:picMk id="5" creationId="{A2E9ABEE-C698-1CF3-02A1-CB3FA1D1F4C2}"/>
          </ac:picMkLst>
        </pc:picChg>
      </pc:sldChg>
      <pc:sldChg chg="addSp delSp modSp add mod">
        <pc:chgData name="Gina Jones" userId="dd199646-467a-450d-805a-670121e10f03" providerId="ADAL" clId="{D7521E2F-4E96-41A0-A791-149FD4B359A9}" dt="2023-02-28T18:04:03.430" v="4084" actId="167"/>
        <pc:sldMkLst>
          <pc:docMk/>
          <pc:sldMk cId="1005939424" sldId="514"/>
        </pc:sldMkLst>
        <pc:spChg chg="mod">
          <ac:chgData name="Gina Jones" userId="dd199646-467a-450d-805a-670121e10f03" providerId="ADAL" clId="{D7521E2F-4E96-41A0-A791-149FD4B359A9}" dt="2023-02-28T17:22:45.161" v="3906" actId="207"/>
          <ac:spMkLst>
            <pc:docMk/>
            <pc:sldMk cId="1005939424" sldId="514"/>
            <ac:spMk id="4" creationId="{7B238EEF-68F8-B990-6804-9B506719C7E2}"/>
          </ac:spMkLst>
        </pc:spChg>
        <pc:spChg chg="mod">
          <ac:chgData name="Gina Jones" userId="dd199646-467a-450d-805a-670121e10f03" providerId="ADAL" clId="{D7521E2F-4E96-41A0-A791-149FD4B359A9}" dt="2023-02-28T17:22:51.032" v="3919" actId="20577"/>
          <ac:spMkLst>
            <pc:docMk/>
            <pc:sldMk cId="1005939424" sldId="514"/>
            <ac:spMk id="6" creationId="{1312CC38-4AD3-955B-2161-8DEC0FD451AE}"/>
          </ac:spMkLst>
        </pc:spChg>
        <pc:graphicFrameChg chg="add mod">
          <ac:chgData name="Gina Jones" userId="dd199646-467a-450d-805a-670121e10f03" providerId="ADAL" clId="{D7521E2F-4E96-41A0-A791-149FD4B359A9}" dt="2023-02-28T17:22:39.239" v="3905" actId="14100"/>
          <ac:graphicFrameMkLst>
            <pc:docMk/>
            <pc:sldMk cId="1005939424" sldId="514"/>
            <ac:graphicFrameMk id="2" creationId="{EB1CB72C-FE38-D214-C3E5-995DD127361E}"/>
          </ac:graphicFrameMkLst>
        </pc:graphicFrameChg>
        <pc:graphicFrameChg chg="del">
          <ac:chgData name="Gina Jones" userId="dd199646-467a-450d-805a-670121e10f03" providerId="ADAL" clId="{D7521E2F-4E96-41A0-A791-149FD4B359A9}" dt="2023-02-28T17:22:13.190" v="3900" actId="478"/>
          <ac:graphicFrameMkLst>
            <pc:docMk/>
            <pc:sldMk cId="1005939424" sldId="514"/>
            <ac:graphicFrameMk id="3" creationId="{D4C80474-7918-5A52-D59F-774E051174DE}"/>
          </ac:graphicFrameMkLst>
        </pc:graphicFrameChg>
        <pc:picChg chg="mod">
          <ac:chgData name="Gina Jones" userId="dd199646-467a-450d-805a-670121e10f03" providerId="ADAL" clId="{D7521E2F-4E96-41A0-A791-149FD4B359A9}" dt="2023-02-28T17:22:45.161" v="3906" actId="207"/>
          <ac:picMkLst>
            <pc:docMk/>
            <pc:sldMk cId="1005939424" sldId="514"/>
            <ac:picMk id="5" creationId="{A2E9ABEE-C698-1CF3-02A1-CB3FA1D1F4C2}"/>
          </ac:picMkLst>
        </pc:picChg>
        <pc:picChg chg="add mod ord">
          <ac:chgData name="Gina Jones" userId="dd199646-467a-450d-805a-670121e10f03" providerId="ADAL" clId="{D7521E2F-4E96-41A0-A791-149FD4B359A9}" dt="2023-02-28T18:04:03.430" v="4084" actId="167"/>
          <ac:picMkLst>
            <pc:docMk/>
            <pc:sldMk cId="1005939424" sldId="514"/>
            <ac:picMk id="10" creationId="{7C766446-077F-A74D-4286-9A5BA050DDD3}"/>
          </ac:picMkLst>
        </pc:picChg>
        <pc:picChg chg="add del mod">
          <ac:chgData name="Gina Jones" userId="dd199646-467a-450d-805a-670121e10f03" providerId="ADAL" clId="{D7521E2F-4E96-41A0-A791-149FD4B359A9}" dt="2023-02-28T18:03:54.943" v="4080" actId="478"/>
          <ac:picMkLst>
            <pc:docMk/>
            <pc:sldMk cId="1005939424" sldId="514"/>
            <ac:picMk id="16386" creationId="{5AE9842A-960B-8688-02CA-80DC11D01E0C}"/>
          </ac:picMkLst>
        </pc:picChg>
      </pc:sldChg>
      <pc:sldMasterChg chg="delSldLayout">
        <pc:chgData name="Gina Jones" userId="dd199646-467a-450d-805a-670121e10f03" providerId="ADAL" clId="{D7521E2F-4E96-41A0-A791-149FD4B359A9}" dt="2023-02-28T15:33:54.228" v="633" actId="47"/>
        <pc:sldMasterMkLst>
          <pc:docMk/>
          <pc:sldMasterMk cId="2732421127" sldId="2147483771"/>
        </pc:sldMasterMkLst>
        <pc:sldLayoutChg chg="del">
          <pc:chgData name="Gina Jones" userId="dd199646-467a-450d-805a-670121e10f03" providerId="ADAL" clId="{D7521E2F-4E96-41A0-A791-149FD4B359A9}" dt="2023-02-28T15:33:54.228" v="633" actId="47"/>
          <pc:sldLayoutMkLst>
            <pc:docMk/>
            <pc:sldMasterMk cId="2732421127" sldId="2147483771"/>
            <pc:sldLayoutMk cId="389257585" sldId="214748377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Dollar Share</a:t>
            </a:r>
          </a:p>
        </c:rich>
      </c:tx>
      <c:layout>
        <c:manualLayout>
          <c:xMode val="edge"/>
          <c:yMode val="edge"/>
          <c:x val="0.14300518575995003"/>
          <c:y val="0.799169967995402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"/>
          <c:y val="0.29776066608736818"/>
          <c:w val="0.67177411833673073"/>
          <c:h val="0.4331539455084246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ollar Sale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8215-4C62-B462-F4555DD890C9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8215-4C62-B462-F4555DD890C9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5-8215-4C62-B462-F4555DD890C9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7-8215-4C62-B462-F4555DD890C9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9-8215-4C62-B462-F4555DD890C9}"/>
              </c:ext>
            </c:extLst>
          </c:dPt>
          <c:dPt>
            <c:idx val="5"/>
            <c:bubble3D val="0"/>
            <c:spPr>
              <a:solidFill>
                <a:srgbClr val="69269B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B-8215-4C62-B462-F4555DD890C9}"/>
              </c:ext>
            </c:extLst>
          </c:dPt>
          <c:dPt>
            <c:idx val="6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D-8215-4C62-B462-F4555DD890C9}"/>
              </c:ext>
            </c:extLst>
          </c:dPt>
          <c:dPt>
            <c:idx val="7"/>
            <c:bubble3D val="0"/>
            <c:spPr>
              <a:solidFill>
                <a:srgbClr val="CEECD7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F-8215-4C62-B462-F4555DD890C9}"/>
              </c:ext>
            </c:extLst>
          </c:dPt>
          <c:dPt>
            <c:idx val="8"/>
            <c:bubble3D val="0"/>
            <c:spPr>
              <a:solidFill>
                <a:srgbClr val="908B9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1-8215-4C62-B462-F4555DD890C9}"/>
              </c:ext>
            </c:extLst>
          </c:dPt>
          <c:dPt>
            <c:idx val="9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4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4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3-8215-4C62-B462-F4555DD890C9}"/>
              </c:ext>
            </c:extLst>
          </c:dPt>
          <c:dPt>
            <c:idx val="10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5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5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5-8215-4C62-B462-F4555DD890C9}"/>
              </c:ext>
            </c:extLst>
          </c:dPt>
          <c:dLbls>
            <c:dLbl>
              <c:idx val="0"/>
              <c:layout>
                <c:manualLayout>
                  <c:x val="-0.17383200254771111"/>
                  <c:y val="7.6371191480789247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15-4C62-B462-F4555DD890C9}"/>
                </c:ext>
              </c:extLst>
            </c:dLbl>
            <c:dLbl>
              <c:idx val="1"/>
              <c:layout>
                <c:manualLayout>
                  <c:x val="-0.18155786932760923"/>
                  <c:y val="-5.1823308504821308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15-4C62-B462-F4555DD890C9}"/>
                </c:ext>
              </c:extLst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215-4C62-B462-F4555DD890C9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8215-4C62-B462-F4555DD890C9}"/>
                </c:ext>
              </c:extLst>
            </c:dLbl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8215-4C62-B462-F4555DD890C9}"/>
                </c:ext>
              </c:extLst>
            </c:dLbl>
            <c:dLbl>
              <c:idx val="5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8215-4C62-B462-F4555DD890C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Bouquet</c:v>
                </c:pt>
                <c:pt idx="1">
                  <c:v>Rose</c:v>
                </c:pt>
                <c:pt idx="2">
                  <c:v>Potted Plant</c:v>
                </c:pt>
                <c:pt idx="3">
                  <c:v>Arrangement</c:v>
                </c:pt>
                <c:pt idx="4">
                  <c:v>Consumer Bunch</c:v>
                </c:pt>
                <c:pt idx="5">
                  <c:v>Holiday</c:v>
                </c:pt>
                <c:pt idx="6">
                  <c:v>Outdoor Plant</c:v>
                </c:pt>
                <c:pt idx="7">
                  <c:v>Bulb</c:v>
                </c:pt>
                <c:pt idx="8">
                  <c:v>Seed</c:v>
                </c:pt>
              </c:strCache>
            </c:strRef>
          </c:cat>
          <c:val>
            <c:numRef>
              <c:f>Sheet1!$B$2:$B$10</c:f>
              <c:numCache>
                <c:formatCode>\$#,##0</c:formatCode>
                <c:ptCount val="9"/>
                <c:pt idx="0">
                  <c:v>92677043.989958793</c:v>
                </c:pt>
                <c:pt idx="1">
                  <c:v>81552665.296838939</c:v>
                </c:pt>
                <c:pt idx="2">
                  <c:v>79554425.745388955</c:v>
                </c:pt>
                <c:pt idx="3">
                  <c:v>65844768.691744059</c:v>
                </c:pt>
                <c:pt idx="4">
                  <c:v>63173799.843662821</c:v>
                </c:pt>
                <c:pt idx="5">
                  <c:v>14853611.133126112</c:v>
                </c:pt>
                <c:pt idx="6">
                  <c:v>10025266.639660083</c:v>
                </c:pt>
                <c:pt idx="7">
                  <c:v>3697814.0640902128</c:v>
                </c:pt>
                <c:pt idx="8">
                  <c:v>1594545.8085975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8215-4C62-B462-F4555DD89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740147770889722"/>
          <c:y val="0.14772134222583794"/>
          <c:w val="0.34413839399913071"/>
          <c:h val="0.76772483863471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Unit</a:t>
            </a:r>
            <a:r>
              <a:rPr lang="en-US" baseline="0"/>
              <a:t> Sale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13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12:$I$112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13:$I$113</c:f>
              <c:numCache>
                <c:formatCode>#,##0</c:formatCode>
                <c:ptCount val="8"/>
                <c:pt idx="0">
                  <c:v>8702539.3291651011</c:v>
                </c:pt>
                <c:pt idx="1">
                  <c:v>9945483.7543648183</c:v>
                </c:pt>
                <c:pt idx="2">
                  <c:v>12727233.126114907</c:v>
                </c:pt>
                <c:pt idx="3">
                  <c:v>10312587.812655412</c:v>
                </c:pt>
                <c:pt idx="4">
                  <c:v>11406049.865563147</c:v>
                </c:pt>
                <c:pt idx="5">
                  <c:v>11046090.802036582</c:v>
                </c:pt>
                <c:pt idx="6">
                  <c:v>11888059.86583991</c:v>
                </c:pt>
                <c:pt idx="7">
                  <c:v>7951360.2778923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248-49A4-B8B0-0C01B6E4C775}"/>
            </c:ext>
          </c:extLst>
        </c:ser>
        <c:ser>
          <c:idx val="1"/>
          <c:order val="1"/>
          <c:tx>
            <c:strRef>
              <c:f>Sheet1!$A$114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12:$I$112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14:$I$114</c:f>
              <c:numCache>
                <c:formatCode>#,##0</c:formatCode>
                <c:ptCount val="8"/>
                <c:pt idx="0">
                  <c:v>9706979.690450348</c:v>
                </c:pt>
                <c:pt idx="1">
                  <c:v>11000582.569927471</c:v>
                </c:pt>
                <c:pt idx="2">
                  <c:v>13570808.94325294</c:v>
                </c:pt>
                <c:pt idx="3">
                  <c:v>11288584.255339913</c:v>
                </c:pt>
                <c:pt idx="4">
                  <c:v>12454898.885032147</c:v>
                </c:pt>
                <c:pt idx="5">
                  <c:v>12239624.439334581</c:v>
                </c:pt>
                <c:pt idx="6">
                  <c:v>12375157.225624481</c:v>
                </c:pt>
                <c:pt idx="7">
                  <c:v>7641859.668032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48-49A4-B8B0-0C01B6E4C775}"/>
            </c:ext>
          </c:extLst>
        </c:ser>
        <c:ser>
          <c:idx val="2"/>
          <c:order val="2"/>
          <c:tx>
            <c:strRef>
              <c:f>Sheet1!$A$115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12:$I$112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15:$I$115</c:f>
              <c:numCache>
                <c:formatCode>#,##0</c:formatCode>
                <c:ptCount val="8"/>
                <c:pt idx="0">
                  <c:v>9239321.8418062795</c:v>
                </c:pt>
                <c:pt idx="1">
                  <c:v>10422660.467414794</c:v>
                </c:pt>
                <c:pt idx="2">
                  <c:v>12584167.866778838</c:v>
                </c:pt>
                <c:pt idx="3">
                  <c:v>9991579.4389958475</c:v>
                </c:pt>
                <c:pt idx="4">
                  <c:v>11179854.761320416</c:v>
                </c:pt>
                <c:pt idx="5">
                  <c:v>11200070.551906766</c:v>
                </c:pt>
                <c:pt idx="6">
                  <c:v>11982222.763795216</c:v>
                </c:pt>
                <c:pt idx="7">
                  <c:v>7660988.7191932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248-49A4-B8B0-0C01B6E4C7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1481136"/>
        <c:axId val="451480720"/>
      </c:lineChart>
      <c:catAx>
        <c:axId val="45148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0720"/>
        <c:crosses val="autoZero"/>
        <c:auto val="1"/>
        <c:lblAlgn val="ctr"/>
        <c:lblOffset val="100"/>
        <c:noMultiLvlLbl val="0"/>
      </c:catAx>
      <c:valAx>
        <c:axId val="451480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ice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34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33:$I$133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34:$I$134</c:f>
              <c:numCache>
                <c:formatCode>\$#,##0.00;\-\$#,##0.00</c:formatCode>
                <c:ptCount val="8"/>
                <c:pt idx="0">
                  <c:v>8.4642005458825444</c:v>
                </c:pt>
                <c:pt idx="1">
                  <c:v>9.0621052626644936</c:v>
                </c:pt>
                <c:pt idx="2">
                  <c:v>9.9898188620409751</c:v>
                </c:pt>
                <c:pt idx="3">
                  <c:v>9.2134128390340084</c:v>
                </c:pt>
                <c:pt idx="4">
                  <c:v>9.0780623931570723</c:v>
                </c:pt>
                <c:pt idx="5">
                  <c:v>9.0664411677185779</c:v>
                </c:pt>
                <c:pt idx="6">
                  <c:v>9.2795432610979933</c:v>
                </c:pt>
                <c:pt idx="7">
                  <c:v>8.2815557592948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78-487B-A18F-C5133F33CFF2}"/>
            </c:ext>
          </c:extLst>
        </c:ser>
        <c:ser>
          <c:idx val="1"/>
          <c:order val="1"/>
          <c:tx>
            <c:strRef>
              <c:f>Sheet1!$A$135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33:$I$133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35:$I$135</c:f>
              <c:numCache>
                <c:formatCode>\$#,##0.00;\-\$#,##0.00</c:formatCode>
                <c:ptCount val="8"/>
                <c:pt idx="0">
                  <c:v>9.4582745817380154</c:v>
                </c:pt>
                <c:pt idx="1">
                  <c:v>10.055038485049677</c:v>
                </c:pt>
                <c:pt idx="2">
                  <c:v>11.011088945440946</c:v>
                </c:pt>
                <c:pt idx="3">
                  <c:v>10.206721601879156</c:v>
                </c:pt>
                <c:pt idx="4">
                  <c:v>10.157660786935468</c:v>
                </c:pt>
                <c:pt idx="5">
                  <c:v>10.119170946122656</c:v>
                </c:pt>
                <c:pt idx="6">
                  <c:v>10.696617526629987</c:v>
                </c:pt>
                <c:pt idx="7">
                  <c:v>9.5972708046799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78-487B-A18F-C5133F33CFF2}"/>
            </c:ext>
          </c:extLst>
        </c:ser>
        <c:ser>
          <c:idx val="2"/>
          <c:order val="2"/>
          <c:tx>
            <c:strRef>
              <c:f>Sheet1!$A$136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3:$I$133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136:$I$136</c:f>
              <c:numCache>
                <c:formatCode>\$#,##0.00;\-\$#,##0.00</c:formatCode>
                <c:ptCount val="8"/>
                <c:pt idx="0">
                  <c:v>9.5740440471464279</c:v>
                </c:pt>
                <c:pt idx="1">
                  <c:v>10.218724545660496</c:v>
                </c:pt>
                <c:pt idx="2">
                  <c:v>11.575890942914842</c:v>
                </c:pt>
                <c:pt idx="3">
                  <c:v>10.783528425492571</c:v>
                </c:pt>
                <c:pt idx="4">
                  <c:v>10.784266977787389</c:v>
                </c:pt>
                <c:pt idx="5">
                  <c:v>10.758872858207464</c:v>
                </c:pt>
                <c:pt idx="6">
                  <c:v>10.985290385935285</c:v>
                </c:pt>
                <c:pt idx="7">
                  <c:v>10.250013620133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78-487B-A18F-C5133F33CF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984400"/>
        <c:axId val="159969840"/>
      </c:lineChart>
      <c:catAx>
        <c:axId val="159984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969840"/>
        <c:crosses val="autoZero"/>
        <c:auto val="1"/>
        <c:lblAlgn val="ctr"/>
        <c:lblOffset val="100"/>
        <c:noMultiLvlLbl val="0"/>
      </c:catAx>
      <c:valAx>
        <c:axId val="159969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,##0.00;\-\$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984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Dollar Sales – 4 w/e 01-01-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\$#,##0</c:formatCode>
                <c:ptCount val="1"/>
                <c:pt idx="0">
                  <c:v>379858964.0481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F2-45BA-A6ED-5689B537E06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\$#,##0</c:formatCode>
                <c:ptCount val="1"/>
                <c:pt idx="0">
                  <c:v>456080810.38759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F2-45BA-A6ED-5689B537E06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\$#,##0</c:formatCode>
                <c:ptCount val="1"/>
                <c:pt idx="0">
                  <c:v>451220108.834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F2-45BA-A6ED-5689B537E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\$#,##0.0" sourceLinked="0"/>
        <c:majorTickMark val="none"/>
        <c:minorTickMark val="none"/>
        <c:tickLblPos val="nextTo"/>
        <c:crossAx val="236527343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Unit Sales – </a:t>
            </a:r>
            <a:r>
              <a:rPr lang="en-IN" sz="1080" b="1" i="0" u="none" strike="noStrike" baseline="0" dirty="0">
                <a:effectLst/>
              </a:rPr>
              <a:t>4 w/e 01-01-23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#,##0</c:formatCode>
                <c:ptCount val="1"/>
                <c:pt idx="0">
                  <c:v>42291560.81133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82-4F75-9706-3CD12978031A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#,##0</c:formatCode>
                <c:ptCount val="1"/>
                <c:pt idx="0">
                  <c:v>44711540.218023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2-4F75-9706-3CD12978031A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#,##0</c:formatCode>
                <c:ptCount val="1"/>
                <c:pt idx="0">
                  <c:v>42023136.796215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2-4F75-9706-3CD129780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#,##0.0" sourceLinked="0"/>
        <c:majorTickMark val="out"/>
        <c:minorTickMark val="none"/>
        <c:tickLblPos val="nextTo"/>
        <c:crossAx val="236527343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Price Per Unit – </a:t>
            </a:r>
            <a:r>
              <a:rPr lang="en-IN" sz="1080" b="1" i="0" u="none" strike="noStrike" baseline="0" dirty="0">
                <a:effectLst/>
              </a:rPr>
              <a:t>4 w/e 01-01-23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\$#,##0.00;\-\$#,##0.00</c:formatCode>
                <c:ptCount val="1"/>
                <c:pt idx="0">
                  <c:v>8.98190931620557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1E-4ABA-B4C5-623C4F30061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\$#,##0.00;\-\$#,##0.00</c:formatCode>
                <c:ptCount val="1"/>
                <c:pt idx="0">
                  <c:v>10.20051664880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1E-4ABA-B4C5-623C4F30061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\$#,##0.00;\-\$#,##0.00</c:formatCode>
                <c:ptCount val="1"/>
                <c:pt idx="0">
                  <c:v>10.737420936059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1E-4ABA-B4C5-623C4F3006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\$#,##0.0" sourceLinked="0"/>
        <c:majorTickMark val="out"/>
        <c:minorTickMark val="none"/>
        <c:tickLblPos val="nextTo"/>
        <c:crossAx val="236527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Dollar Sa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2:$I$2</c:f>
              <c:numCache>
                <c:formatCode>\$#,##0</c:formatCode>
                <c:ptCount val="8"/>
                <c:pt idx="0">
                  <c:v>89257885.786043286</c:v>
                </c:pt>
                <c:pt idx="1">
                  <c:v>87435505.592530131</c:v>
                </c:pt>
                <c:pt idx="2">
                  <c:v>78000710.279550731</c:v>
                </c:pt>
                <c:pt idx="3">
                  <c:v>78327167.490847528</c:v>
                </c:pt>
                <c:pt idx="4">
                  <c:v>71639089.442408979</c:v>
                </c:pt>
                <c:pt idx="5">
                  <c:v>73660038.140483543</c:v>
                </c:pt>
                <c:pt idx="6">
                  <c:v>90127020.670173645</c:v>
                </c:pt>
                <c:pt idx="7">
                  <c:v>127142753.54485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25-46A3-AE13-714C340B057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I$1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3:$I$3</c:f>
              <c:numCache>
                <c:formatCode>\$#,##0</c:formatCode>
                <c:ptCount val="8"/>
                <c:pt idx="0">
                  <c:v>105970748.8640613</c:v>
                </c:pt>
                <c:pt idx="1">
                  <c:v>107920621.76439948</c:v>
                </c:pt>
                <c:pt idx="2">
                  <c:v>99813665.79541567</c:v>
                </c:pt>
                <c:pt idx="3">
                  <c:v>97420399.836298674</c:v>
                </c:pt>
                <c:pt idx="4">
                  <c:v>92158201.508141577</c:v>
                </c:pt>
                <c:pt idx="5">
                  <c:v>91811279.271633685</c:v>
                </c:pt>
                <c:pt idx="6">
                  <c:v>110611281.09858745</c:v>
                </c:pt>
                <c:pt idx="7">
                  <c:v>149429384.33574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C25-46A3-AE13-714C340B057C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4:$I$4</c:f>
              <c:numCache>
                <c:formatCode>\$#,##0</c:formatCode>
                <c:ptCount val="8"/>
                <c:pt idx="0">
                  <c:v>107097626.25702345</c:v>
                </c:pt>
                <c:pt idx="1">
                  <c:v>106380624.94245289</c:v>
                </c:pt>
                <c:pt idx="2">
                  <c:v>99832336.060262471</c:v>
                </c:pt>
                <c:pt idx="3">
                  <c:v>97676502.646493495</c:v>
                </c:pt>
                <c:pt idx="4">
                  <c:v>92535801.123928681</c:v>
                </c:pt>
                <c:pt idx="5">
                  <c:v>88457674.279215395</c:v>
                </c:pt>
                <c:pt idx="6">
                  <c:v>106506296.34945688</c:v>
                </c:pt>
                <c:pt idx="7">
                  <c:v>145672954.83316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C25-46A3-AE13-714C340B05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332496"/>
        <c:axId val="11314608"/>
      </c:lineChart>
      <c:catAx>
        <c:axId val="11332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14608"/>
        <c:crosses val="autoZero"/>
        <c:auto val="1"/>
        <c:lblAlgn val="ctr"/>
        <c:lblOffset val="100"/>
        <c:noMultiLvlLbl val="0"/>
      </c:catAx>
      <c:valAx>
        <c:axId val="11314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32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Unit Sa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35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34:$I$34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35:$I$35</c:f>
              <c:numCache>
                <c:formatCode>#,##0</c:formatCode>
                <c:ptCount val="8"/>
                <c:pt idx="0">
                  <c:v>11706907.218548784</c:v>
                </c:pt>
                <c:pt idx="1">
                  <c:v>10731285.964627406</c:v>
                </c:pt>
                <c:pt idx="2">
                  <c:v>9625355.0542597584</c:v>
                </c:pt>
                <c:pt idx="3">
                  <c:v>9686321.0480175298</c:v>
                </c:pt>
                <c:pt idx="4">
                  <c:v>8660842.0486241542</c:v>
                </c:pt>
                <c:pt idx="5">
                  <c:v>8702539.3291650992</c:v>
                </c:pt>
                <c:pt idx="6">
                  <c:v>9945483.7543648183</c:v>
                </c:pt>
                <c:pt idx="7">
                  <c:v>12727233.12611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809-42AE-B937-0D22CFE595F9}"/>
            </c:ext>
          </c:extLst>
        </c:ser>
        <c:ser>
          <c:idx val="1"/>
          <c:order val="1"/>
          <c:tx>
            <c:strRef>
              <c:f>Sheet1!$A$36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34:$I$34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36:$I$36</c:f>
              <c:numCache>
                <c:formatCode>#,##0</c:formatCode>
                <c:ptCount val="8"/>
                <c:pt idx="0">
                  <c:v>12334944.04392253</c:v>
                </c:pt>
                <c:pt idx="1">
                  <c:v>12404224.032971418</c:v>
                </c:pt>
                <c:pt idx="2">
                  <c:v>11828079.880910091</c:v>
                </c:pt>
                <c:pt idx="3">
                  <c:v>11239456.03960529</c:v>
                </c:pt>
                <c:pt idx="4">
                  <c:v>10201238.332234539</c:v>
                </c:pt>
                <c:pt idx="5">
                  <c:v>9706979.6904503461</c:v>
                </c:pt>
                <c:pt idx="6">
                  <c:v>11000582.569927471</c:v>
                </c:pt>
                <c:pt idx="7">
                  <c:v>13570808.94325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09-42AE-B937-0D22CFE595F9}"/>
            </c:ext>
          </c:extLst>
        </c:ser>
        <c:ser>
          <c:idx val="2"/>
          <c:order val="2"/>
          <c:tx>
            <c:strRef>
              <c:f>Sheet1!$A$37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4:$I$34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37:$I$37</c:f>
              <c:numCache>
                <c:formatCode>#,##0</c:formatCode>
                <c:ptCount val="8"/>
                <c:pt idx="0">
                  <c:v>11284789.841215471</c:v>
                </c:pt>
                <c:pt idx="1">
                  <c:v>11153454.607637083</c:v>
                </c:pt>
                <c:pt idx="2">
                  <c:v>10335661.954743171</c:v>
                </c:pt>
                <c:pt idx="3">
                  <c:v>10234357.887550222</c:v>
                </c:pt>
                <c:pt idx="4">
                  <c:v>9940609.7839488592</c:v>
                </c:pt>
                <c:pt idx="5">
                  <c:v>9239321.8418062776</c:v>
                </c:pt>
                <c:pt idx="6">
                  <c:v>10422660.467414791</c:v>
                </c:pt>
                <c:pt idx="7">
                  <c:v>12584167.866778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09-42AE-B937-0D22CFE59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6124864"/>
        <c:axId val="17659424"/>
      </c:lineChart>
      <c:catAx>
        <c:axId val="188612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9424"/>
        <c:crosses val="autoZero"/>
        <c:auto val="1"/>
        <c:lblAlgn val="ctr"/>
        <c:lblOffset val="100"/>
        <c:noMultiLvlLbl val="0"/>
      </c:catAx>
      <c:valAx>
        <c:axId val="17659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612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ice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6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60:$I$6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61:$I$61</c:f>
              <c:numCache>
                <c:formatCode>\$#,##0.00;\-\$#,##0.00</c:formatCode>
                <c:ptCount val="8"/>
                <c:pt idx="0">
                  <c:v>7.6243779949515913</c:v>
                </c:pt>
                <c:pt idx="1">
                  <c:v>8.1477192836661043</c:v>
                </c:pt>
                <c:pt idx="2">
                  <c:v>8.1036709648472716</c:v>
                </c:pt>
                <c:pt idx="3">
                  <c:v>8.0863691284399994</c:v>
                </c:pt>
                <c:pt idx="4">
                  <c:v>8.2716078921898166</c:v>
                </c:pt>
                <c:pt idx="5">
                  <c:v>8.4642005458825444</c:v>
                </c:pt>
                <c:pt idx="6">
                  <c:v>9.0621052626644936</c:v>
                </c:pt>
                <c:pt idx="7">
                  <c:v>9.9898188620409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13-4AE4-B4D7-76C0FEF0B9B7}"/>
            </c:ext>
          </c:extLst>
        </c:ser>
        <c:ser>
          <c:idx val="1"/>
          <c:order val="1"/>
          <c:tx>
            <c:strRef>
              <c:f>Sheet1!$A$62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60:$I$6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62:$I$62</c:f>
              <c:numCache>
                <c:formatCode>\$#,##0.00;\-\$#,##0.00</c:formatCode>
                <c:ptCount val="8"/>
                <c:pt idx="0">
                  <c:v>8.5911008989354478</c:v>
                </c:pt>
                <c:pt idx="1">
                  <c:v>8.7003122063530824</c:v>
                </c:pt>
                <c:pt idx="2">
                  <c:v>8.4387040669643909</c:v>
                </c:pt>
                <c:pt idx="3">
                  <c:v>8.6677148336192893</c:v>
                </c:pt>
                <c:pt idx="4">
                  <c:v>9.0340210185006722</c:v>
                </c:pt>
                <c:pt idx="5">
                  <c:v>9.4582745817380189</c:v>
                </c:pt>
                <c:pt idx="6">
                  <c:v>10.055038485049682</c:v>
                </c:pt>
                <c:pt idx="7">
                  <c:v>11.011088945440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13-4AE4-B4D7-76C0FEF0B9B7}"/>
            </c:ext>
          </c:extLst>
        </c:ser>
        <c:ser>
          <c:idx val="2"/>
          <c:order val="2"/>
          <c:tx>
            <c:strRef>
              <c:f>Sheet1!$A$63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60:$I$6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Thanksgiving week</c:v>
                </c:pt>
              </c:strCache>
            </c:strRef>
          </c:cat>
          <c:val>
            <c:numRef>
              <c:f>Sheet1!$B$63:$I$63</c:f>
              <c:numCache>
                <c:formatCode>\$#,##0.00;\-\$#,##0.00</c:formatCode>
                <c:ptCount val="8"/>
                <c:pt idx="0">
                  <c:v>9.4904404746529245</c:v>
                </c:pt>
                <c:pt idx="1">
                  <c:v>9.53790809079109</c:v>
                </c:pt>
                <c:pt idx="2">
                  <c:v>9.6590171483354386</c:v>
                </c:pt>
                <c:pt idx="3">
                  <c:v>9.5439795754371577</c:v>
                </c:pt>
                <c:pt idx="4">
                  <c:v>9.3088656667065433</c:v>
                </c:pt>
                <c:pt idx="5">
                  <c:v>9.5740440471464314</c:v>
                </c:pt>
                <c:pt idx="6">
                  <c:v>10.218724545660502</c:v>
                </c:pt>
                <c:pt idx="7">
                  <c:v>11.575890942914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13-4AE4-B4D7-76C0FEF0B9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1704640"/>
        <c:axId val="441705056"/>
      </c:lineChart>
      <c:catAx>
        <c:axId val="44170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1705056"/>
        <c:crosses val="autoZero"/>
        <c:auto val="1"/>
        <c:lblAlgn val="ctr"/>
        <c:lblOffset val="100"/>
        <c:noMultiLvlLbl val="0"/>
      </c:catAx>
      <c:valAx>
        <c:axId val="441705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,##0.00;\-\$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1704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Dollar Sales – 4 w/e 11-27-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\$#,##0</c:formatCode>
                <c:ptCount val="1"/>
                <c:pt idx="0">
                  <c:v>362568901.79792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76-4B3B-8BAF-53C9E3D73EEF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\$#,##0</c:formatCode>
                <c:ptCount val="1"/>
                <c:pt idx="0">
                  <c:v>444010146.21410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76-4B3B-8BAF-53C9E3D73EEF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\$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\$#,##0</c:formatCode>
                <c:ptCount val="1"/>
                <c:pt idx="0">
                  <c:v>433172726.58576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76-4B3B-8BAF-53C9E3D73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\$#,##0.0" sourceLinked="0"/>
        <c:majorTickMark val="none"/>
        <c:minorTickMark val="none"/>
        <c:tickLblPos val="nextTo"/>
        <c:crossAx val="236527343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Unit Sales – </a:t>
            </a:r>
            <a:r>
              <a:rPr lang="en-IN" sz="1080" b="1" i="0" u="none" strike="noStrike" baseline="0" dirty="0">
                <a:effectLst/>
              </a:rPr>
              <a:t>4 w/e 11-27-22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#,##0</c:formatCode>
                <c:ptCount val="1"/>
                <c:pt idx="0">
                  <c:v>40036098.258268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6-44A3-89AE-BCD3F70386D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#,##0</c:formatCode>
                <c:ptCount val="1"/>
                <c:pt idx="0">
                  <c:v>44479609.535865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6-44A3-89AE-BCD3F70386D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.0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#,##0</c:formatCode>
                <c:ptCount val="1"/>
                <c:pt idx="0">
                  <c:v>42186759.959948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6-44A3-89AE-BCD3F70386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#,##0.0" sourceLinked="0"/>
        <c:majorTickMark val="out"/>
        <c:minorTickMark val="none"/>
        <c:tickLblPos val="nextTo"/>
        <c:crossAx val="236527343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Price Per Unit – </a:t>
            </a:r>
            <a:r>
              <a:rPr lang="en-IN" sz="1080" b="1" i="0" u="none" strike="noStrike" baseline="0" dirty="0">
                <a:effectLst/>
              </a:rPr>
              <a:t>4 w/e 11-27-22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 Years Ag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2</c:f>
              <c:numCache>
                <c:formatCode>\$#,##0.00;\-\$#,##0.00</c:formatCode>
                <c:ptCount val="1"/>
                <c:pt idx="0">
                  <c:v>9.0560498542846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0-44FB-A2BD-E675EE1DE87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ear Ag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3</c:f>
              <c:numCache>
                <c:formatCode>\$#,##0.00;\-\$#,##0.00</c:formatCode>
                <c:ptCount val="1"/>
                <c:pt idx="0">
                  <c:v>9.9823301249100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00-44FB-A2BD-E675EE1DE87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cat>
          <c:val>
            <c:numRef>
              <c:f>Sheet1!$B$4</c:f>
              <c:numCache>
                <c:formatCode>\$#,##0.00;\-\$#,##0.00</c:formatCode>
                <c:ptCount val="1"/>
                <c:pt idx="0">
                  <c:v>10.267978081203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00-44FB-A2BD-E675EE1DE8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236527343"/>
        <c:axId val="236524431"/>
      </c:barChart>
      <c:catAx>
        <c:axId val="236527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6524431"/>
        <c:crosses val="autoZero"/>
        <c:auto val="1"/>
        <c:lblAlgn val="ctr"/>
        <c:lblOffset val="100"/>
        <c:noMultiLvlLbl val="0"/>
      </c:catAx>
      <c:valAx>
        <c:axId val="236524431"/>
        <c:scaling>
          <c:orientation val="minMax"/>
        </c:scaling>
        <c:delete val="1"/>
        <c:axPos val="l"/>
        <c:numFmt formatCode="\$#,##0.0" sourceLinked="0"/>
        <c:majorTickMark val="out"/>
        <c:minorTickMark val="none"/>
        <c:tickLblPos val="nextTo"/>
        <c:crossAx val="236527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Dollar Share</a:t>
            </a:r>
          </a:p>
        </c:rich>
      </c:tx>
      <c:layout>
        <c:manualLayout>
          <c:xMode val="edge"/>
          <c:yMode val="edge"/>
          <c:x val="0.14300518575995003"/>
          <c:y val="0.799169967995402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"/>
          <c:y val="0.29776066608736818"/>
          <c:w val="0.67177411833673073"/>
          <c:h val="0.4331539455084246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ollar Sale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00206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85CB-4290-8449-AAA9AE755C15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85CB-4290-8449-AAA9AE755C15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5-85CB-4290-8449-AAA9AE755C15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7-85CB-4290-8449-AAA9AE755C15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9-85CB-4290-8449-AAA9AE755C15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B-85CB-4290-8449-AAA9AE755C15}"/>
              </c:ext>
            </c:extLst>
          </c:dPt>
          <c:dPt>
            <c:idx val="6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D-85CB-4290-8449-AAA9AE755C15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F-85CB-4290-8449-AAA9AE755C15}"/>
              </c:ext>
            </c:extLst>
          </c:dPt>
          <c:dPt>
            <c:idx val="8"/>
            <c:bubble3D val="0"/>
            <c:spPr>
              <a:solidFill>
                <a:srgbClr val="908B9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1-85CB-4290-8449-AAA9AE755C15}"/>
              </c:ext>
            </c:extLst>
          </c:dPt>
          <c:dPt>
            <c:idx val="9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4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4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3-85CB-4290-8449-AAA9AE755C15}"/>
              </c:ext>
            </c:extLst>
          </c:dPt>
          <c:dPt>
            <c:idx val="10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5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5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5-85CB-4290-8449-AAA9AE755C15}"/>
              </c:ext>
            </c:extLst>
          </c:dPt>
          <c:dLbls>
            <c:dLbl>
              <c:idx val="0"/>
              <c:layout>
                <c:manualLayout>
                  <c:x val="-0.12361386847837236"/>
                  <c:y val="8.7281361692330667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5CB-4290-8449-AAA9AE755C15}"/>
                </c:ext>
              </c:extLst>
            </c:dLbl>
            <c:dLbl>
              <c:idx val="1"/>
              <c:layout>
                <c:manualLayout>
                  <c:x val="-0.23177600339694804"/>
                  <c:y val="-2.7275425528853321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CB-4290-8449-AAA9AE755C15}"/>
                </c:ext>
              </c:extLst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5CB-4290-8449-AAA9AE755C15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85CB-4290-8449-AAA9AE755C1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D389699-2F3F-4618-9E85-3446EDD1812C}" type="PERCENTAGE">
                      <a:rPr lang="en-US">
                        <a:solidFill>
                          <a:schemeClr val="bg1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85CB-4290-8449-AAA9AE755C1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0E98A2B-300B-401D-998F-E0A50EC36741}" type="PERCENTAGE">
                      <a:rPr lang="en-US">
                        <a:solidFill>
                          <a:schemeClr val="bg1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85CB-4290-8449-AAA9AE755C1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Potted Plant</c:v>
                </c:pt>
                <c:pt idx="1">
                  <c:v>Rose</c:v>
                </c:pt>
                <c:pt idx="2">
                  <c:v>Bouquet</c:v>
                </c:pt>
                <c:pt idx="3">
                  <c:v>Arrangement</c:v>
                </c:pt>
                <c:pt idx="4">
                  <c:v>Consumer Bunch</c:v>
                </c:pt>
                <c:pt idx="5">
                  <c:v>Holiday</c:v>
                </c:pt>
                <c:pt idx="6">
                  <c:v>Outdoor Plant</c:v>
                </c:pt>
                <c:pt idx="7">
                  <c:v>Bulb</c:v>
                </c:pt>
                <c:pt idx="8">
                  <c:v>Seed</c:v>
                </c:pt>
              </c:strCache>
            </c:strRef>
          </c:cat>
          <c:val>
            <c:numRef>
              <c:f>Sheet1!$B$2:$B$10</c:f>
              <c:numCache>
                <c:formatCode>\$#,##0</c:formatCode>
                <c:ptCount val="9"/>
                <c:pt idx="0">
                  <c:v>113672675.25827152</c:v>
                </c:pt>
                <c:pt idx="1">
                  <c:v>83938524.822037145</c:v>
                </c:pt>
                <c:pt idx="2">
                  <c:v>83593920.901225373</c:v>
                </c:pt>
                <c:pt idx="3">
                  <c:v>65413377.127953798</c:v>
                </c:pt>
                <c:pt idx="4">
                  <c:v>53322796.078000888</c:v>
                </c:pt>
                <c:pt idx="5">
                  <c:v>16321770.700650081</c:v>
                </c:pt>
                <c:pt idx="6">
                  <c:v>6294897.1672622487</c:v>
                </c:pt>
                <c:pt idx="7">
                  <c:v>4456260.2161305211</c:v>
                </c:pt>
                <c:pt idx="8">
                  <c:v>3481792.6333938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85CB-4290-8449-AAA9AE755C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740147770889722"/>
          <c:y val="0.15863151243737927"/>
          <c:w val="0.34413839399913071"/>
          <c:h val="0.76772483863471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ollar Sa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9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90:$I$9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91:$I$91</c:f>
              <c:numCache>
                <c:formatCode>\$#,##0</c:formatCode>
                <c:ptCount val="8"/>
                <c:pt idx="0">
                  <c:v>73660038.140483558</c:v>
                </c:pt>
                <c:pt idx="1">
                  <c:v>90127020.670173645</c:v>
                </c:pt>
                <c:pt idx="2">
                  <c:v>127142753.54485542</c:v>
                </c:pt>
                <c:pt idx="3">
                  <c:v>95014128.956785008</c:v>
                </c:pt>
                <c:pt idx="4">
                  <c:v>103544832.33904308</c:v>
                </c:pt>
                <c:pt idx="5">
                  <c:v>100148732.38994199</c:v>
                </c:pt>
                <c:pt idx="6">
                  <c:v>110315765.81558426</c:v>
                </c:pt>
                <c:pt idx="7">
                  <c:v>65849633.503607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A1-4B32-A3C4-BA58E0719374}"/>
            </c:ext>
          </c:extLst>
        </c:ser>
        <c:ser>
          <c:idx val="1"/>
          <c:order val="1"/>
          <c:tx>
            <c:strRef>
              <c:f>Sheet1!$A$92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90:$I$9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92:$I$92</c:f>
              <c:numCache>
                <c:formatCode>\$#,##0</c:formatCode>
                <c:ptCount val="8"/>
                <c:pt idx="0">
                  <c:v>91811279.27163367</c:v>
                </c:pt>
                <c:pt idx="1">
                  <c:v>110611281.09858739</c:v>
                </c:pt>
                <c:pt idx="2">
                  <c:v>149429384.33574358</c:v>
                </c:pt>
                <c:pt idx="3">
                  <c:v>115219436.77361082</c:v>
                </c:pt>
                <c:pt idx="4">
                  <c:v>126512638.00973731</c:v>
                </c:pt>
                <c:pt idx="5">
                  <c:v>123854852.01796728</c:v>
                </c:pt>
                <c:pt idx="6">
                  <c:v>132372323.67441656</c:v>
                </c:pt>
                <c:pt idx="7">
                  <c:v>73340996.685471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A1-4B32-A3C4-BA58E0719374}"/>
            </c:ext>
          </c:extLst>
        </c:ser>
        <c:ser>
          <c:idx val="2"/>
          <c:order val="2"/>
          <c:tx>
            <c:strRef>
              <c:f>Sheet1!$A$93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90:$I$90</c:f>
              <c:strCache>
                <c:ptCount val="8"/>
                <c:pt idx="0">
                  <c:v> 8 wks prior</c:v>
                </c:pt>
                <c:pt idx="1">
                  <c:v>7 weeks prior</c:v>
                </c:pt>
                <c:pt idx="2">
                  <c:v>6 weeks prior</c:v>
                </c:pt>
                <c:pt idx="3">
                  <c:v>5 weeks prior</c:v>
                </c:pt>
                <c:pt idx="4">
                  <c:v>4 weeks prior</c:v>
                </c:pt>
                <c:pt idx="5">
                  <c:v>3 weeks prior</c:v>
                </c:pt>
                <c:pt idx="6">
                  <c:v>2 weeks prior</c:v>
                </c:pt>
                <c:pt idx="7">
                  <c:v>Christmas week</c:v>
                </c:pt>
              </c:strCache>
            </c:strRef>
          </c:cat>
          <c:val>
            <c:numRef>
              <c:f>Sheet1!$B$93:$I$93</c:f>
              <c:numCache>
                <c:formatCode>\$#,##0</c:formatCode>
                <c:ptCount val="8"/>
                <c:pt idx="0">
                  <c:v>88457674.279215381</c:v>
                </c:pt>
                <c:pt idx="1">
                  <c:v>106506296.34945686</c:v>
                </c:pt>
                <c:pt idx="2">
                  <c:v>145672954.83316514</c:v>
                </c:pt>
                <c:pt idx="3">
                  <c:v>107744480.89597884</c:v>
                </c:pt>
                <c:pt idx="4">
                  <c:v>120566538.51896688</c:v>
                </c:pt>
                <c:pt idx="5">
                  <c:v>120500135.07091841</c:v>
                </c:pt>
                <c:pt idx="6">
                  <c:v>131628196.5292545</c:v>
                </c:pt>
                <c:pt idx="7">
                  <c:v>78525238.715422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A1-4B32-A3C4-BA58E07193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1493200"/>
        <c:axId val="451484880"/>
      </c:lineChart>
      <c:catAx>
        <c:axId val="4514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4880"/>
        <c:crosses val="autoZero"/>
        <c:auto val="1"/>
        <c:lblAlgn val="ctr"/>
        <c:lblOffset val="100"/>
        <c:noMultiLvlLbl val="0"/>
      </c:catAx>
      <c:valAx>
        <c:axId val="451484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60E35-0602-4846-A5BE-D29A2EB1F2DB}" type="datetimeFigureOut">
              <a:rPr lang="en-US" smtClean="0"/>
              <a:t>2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CD0F64-6268-4C90-9CA5-2B5DEC6805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43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015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sure about the future, bracing for extremes, yet ready to move forward.  Consumers survived a pandemic and economic downturn and are ready for a vibrant future. 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day, we are going to talk about the industry and consumers trends that are the foundation for 2023’s business environment.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448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st economists expect the global economy to sputter in 2023 before rebounding in 2024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 the past half century, inflation above 5% has never been tamed without incurring a recession.  Economist expect the U.S. economy will steadily soften through the first half of 2023, ushering in a brief, modest recession at end of the second quarter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 prices are expected to grow more slowly in 2023 than in 2022 but are still above historical average rat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In 2023, all food prices are predicted to increase 7.1 perc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t-home prices are predicted to increase 8.0 perc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way-from-home prices are predicted to increase 8.2 perc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BL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dirty="0"/>
            </a:b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117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st economists expect the global economy to sputter in 2023 before rebounding in 2024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 the past half century, inflation above 5% has never been tamed without incurring a recession.  Economist expect the U.S. economy will steadily soften through the first half of 2023, ushering in a brief, modest recession at end of the second quarter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 prices are expected to grow more slowly in 2023 than in 2022 but are still above historical average rat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In 2023, all food prices are predicted to increase 7.1 perc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t-home prices are predicted to increase 8.0 perc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way-from-home prices are predicted to increase 8.2 perc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BL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dirty="0"/>
            </a:b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333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sure about the future, bracing for extremes, yet ready to move forward.  Consumers survived a pandemic and economic downturn and are ready for a vibrant future. 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day, we are going to talk about the industry and consumers trends that are the foundation for 2023’s business environment.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5945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st economists expect the global economy to sputter in 2023 before rebounding in 2024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 the past half century, inflation above 5% has never been tamed without incurring a recession.  Economist expect the U.S. economy will steadily soften through the first half of 2023, ushering in a brief, modest recession at end of the second quarter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 prices are expected to grow more slowly in 2023 than in 2022 but are still above historical average rat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In 2023, all food prices are predicted to increase 7.1 perc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t-home prices are predicted to increase 8.0 perc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way-from-home prices are predicted to increase 8.2 perc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BL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dirty="0"/>
            </a:b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466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st economists expect the global economy to sputter in 2023 before rebounding in 2024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 the past half century, inflation above 5% has never been tamed without incurring a recession.  Economist expect the U.S. economy will steadily soften through the first half of 2023, ushering in a brief, modest recession at end of the second quarter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 prices are expected to grow more slowly in 2023 than in 2022 but are still above historical average rat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In 2023, all food prices are predicted to increase 7.1 perc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t-home prices are predicted to increase 8.0 perc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3B445F"/>
                </a:solidFill>
                <a:effectLst/>
                <a:latin typeface="-apple-system"/>
              </a:rPr>
              <a:t>Food-away-from-home prices are predicted to increase 8.2 perc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BL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dirty="0"/>
            </a:br>
            <a:endParaRPr lang="en-US" b="0" i="0" dirty="0">
              <a:solidFill>
                <a:srgbClr val="3B445F"/>
              </a:solidFill>
              <a:effectLst/>
              <a:latin typeface="-apple-system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5C820-EF7C-45D3-9999-41E32A0AA8F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97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wmf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1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wmf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9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3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3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pn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wmf"/><Relationship Id="rId4" Type="http://schemas.openxmlformats.org/officeDocument/2006/relationships/image" Target="../media/image13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wmf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wmf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2.wmf"/><Relationship Id="rId4" Type="http://schemas.openxmlformats.org/officeDocument/2006/relationships/image" Target="../media/image13.emf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2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image" Target="../media/image2.wmf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2.wmf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2.wmf"/><Relationship Id="rId4" Type="http://schemas.openxmlformats.org/officeDocument/2006/relationships/image" Target="../media/image13.emf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9467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4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625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244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1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511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00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hoto Sli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34F20A8-B5E2-4C7B-948F-E53E173FF75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240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BC5C8A-7EA1-4CA2-AE4A-49D443368AFD}"/>
              </a:ext>
            </a:extLst>
          </p:cNvPr>
          <p:cNvGrpSpPr/>
          <p:nvPr userDrawn="1"/>
        </p:nvGrpSpPr>
        <p:grpSpPr>
          <a:xfrm>
            <a:off x="1" y="6263640"/>
            <a:ext cx="12192000" cy="594360"/>
            <a:chOff x="0" y="4697730"/>
            <a:chExt cx="9144000" cy="445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38C231-B0F5-4BC1-91AC-2315A18E0060}"/>
                </a:ext>
              </a:extLst>
            </p:cNvPr>
            <p:cNvSpPr/>
            <p:nvPr userDrawn="1"/>
          </p:nvSpPr>
          <p:spPr bwMode="gray">
            <a:xfrm>
              <a:off x="0" y="4697730"/>
              <a:ext cx="9144000" cy="44577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835"/>
              <a:endParaRPr lang="en-US" sz="1900" dirty="0">
                <a:solidFill>
                  <a:prstClr val="white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050DA6-B7E5-4CDC-A6FD-4897B1DD3770}"/>
                </a:ext>
              </a:extLst>
            </p:cNvPr>
            <p:cNvSpPr txBox="1"/>
            <p:nvPr userDrawn="1"/>
          </p:nvSpPr>
          <p:spPr bwMode="gray">
            <a:xfrm>
              <a:off x="3706047" y="4844732"/>
              <a:ext cx="4699819" cy="161583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algn="r" defTabSz="1218835"/>
              <a:r>
                <a:rPr lang="en-US" sz="800" dirty="0">
                  <a:solidFill>
                    <a:prstClr val="white"/>
                  </a:solidFill>
                </a:rPr>
                <a:t>© 2018 Information Resources Inc. (IRI). Confidential and Proprietary.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F98908-D315-4626-A5B3-8029C865AA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9475" y="4753263"/>
              <a:ext cx="1001028" cy="36576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DBDA8A7-0DE1-4B54-A893-E28500C0C34A}"/>
                </a:ext>
              </a:extLst>
            </p:cNvPr>
            <p:cNvGrpSpPr/>
            <p:nvPr userDrawn="1"/>
          </p:nvGrpSpPr>
          <p:grpSpPr>
            <a:xfrm>
              <a:off x="359972" y="4774759"/>
              <a:ext cx="677675" cy="300418"/>
              <a:chOff x="359972" y="4774759"/>
              <a:chExt cx="677675" cy="300418"/>
            </a:xfrm>
          </p:grpSpPr>
          <p:pic>
            <p:nvPicPr>
              <p:cNvPr id="18" name="Picture 5">
                <a:extLst>
                  <a:ext uri="{FF2B5EF4-FFF2-40B4-BE49-F238E27FC236}">
                    <a16:creationId xmlns:a16="http://schemas.microsoft.com/office/drawing/2014/main" id="{B471AEC0-5202-4E25-8BC9-C872C0A8E27E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359972" y="4774759"/>
                <a:ext cx="677675" cy="290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AD0E22F-20A7-4628-88D6-4EF173F50B83}"/>
                  </a:ext>
                </a:extLst>
              </p:cNvPr>
              <p:cNvSpPr/>
              <p:nvPr userDrawn="1"/>
            </p:nvSpPr>
            <p:spPr>
              <a:xfrm>
                <a:off x="679837" y="5009305"/>
                <a:ext cx="357810" cy="658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835"/>
                <a:endParaRPr lang="en-US" sz="2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EA9AA88-0256-415C-9EE6-09130AA7EBC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400">
                <a:latin typeface="+mj-lt"/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EA82C9-F23C-4C22-BF0D-7F86C070DB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prstClr val="white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37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4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4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218835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50814"/>
            <a:ext cx="10972801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41957174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01" y="321757"/>
            <a:ext cx="10957984" cy="63181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2895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7" imgH="305" progId="TCLayout.ActiveDocument.1">
                  <p:embed/>
                </p:oleObj>
              </mc:Choice>
              <mc:Fallback>
                <p:oleObj name="think-cell Slide" r:id="rId3" imgW="407" imgH="30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1200" y="1219200"/>
            <a:ext cx="5181600" cy="49530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219200"/>
            <a:ext cx="5181600" cy="49530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69891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0" y="369864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1" y="1790358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1" y="1174745"/>
            <a:ext cx="11338559" cy="330200"/>
          </a:xfrm>
        </p:spPr>
        <p:txBody>
          <a:bodyPr/>
          <a:lstStyle>
            <a:lvl1pPr marL="0" indent="0">
              <a:buNone/>
              <a:defRPr sz="1867" b="1"/>
            </a:lvl1pPr>
            <a:lvl2pPr marL="350827" indent="0">
              <a:buNone/>
              <a:defRPr/>
            </a:lvl2pPr>
            <a:lvl3pPr marL="674671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23623" y="6121178"/>
            <a:ext cx="6264612" cy="169375"/>
          </a:xfrm>
        </p:spPr>
        <p:txBody>
          <a:bodyPr/>
          <a:lstStyle>
            <a:lvl1pPr algn="r"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306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30321458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33146" y="26923"/>
            <a:ext cx="10725708" cy="697563"/>
          </a:xfrm>
        </p:spPr>
        <p:txBody>
          <a:bodyPr lIns="0" tIns="0" rIns="0" bIns="0"/>
          <a:lstStyle>
            <a:lvl1pPr>
              <a:defRPr sz="4533" b="1" i="0">
                <a:solidFill>
                  <a:srgbClr val="369051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2390159126"/>
      </p:ext>
    </p:extLst>
  </p:cSld>
  <p:clrMapOvr>
    <a:masterClrMapping/>
  </p:clrMapOvr>
  <p:transition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9456" y="6252463"/>
            <a:ext cx="416560" cy="422656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141456" y="6323583"/>
            <a:ext cx="418592" cy="245872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1135021" y="6317233"/>
            <a:ext cx="431800" cy="259080"/>
          </a:xfrm>
          <a:custGeom>
            <a:avLst/>
            <a:gdLst/>
            <a:ahLst/>
            <a:cxnLst/>
            <a:rect l="l" t="t" r="r" b="b"/>
            <a:pathLst>
              <a:path w="323850" h="194310">
                <a:moveTo>
                  <a:pt x="0" y="193929"/>
                </a:moveTo>
                <a:lnTo>
                  <a:pt x="323469" y="193929"/>
                </a:lnTo>
                <a:lnTo>
                  <a:pt x="323469" y="0"/>
                </a:lnTo>
                <a:lnTo>
                  <a:pt x="0" y="0"/>
                </a:lnTo>
                <a:lnTo>
                  <a:pt x="0" y="193929"/>
                </a:lnTo>
                <a:close/>
              </a:path>
            </a:pathLst>
          </a:custGeom>
          <a:ln w="952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33146" y="26923"/>
            <a:ext cx="10725708" cy="697563"/>
          </a:xfrm>
        </p:spPr>
        <p:txBody>
          <a:bodyPr lIns="0" tIns="0" rIns="0" bIns="0"/>
          <a:lstStyle>
            <a:lvl1pPr>
              <a:defRPr sz="4533" b="1" i="0">
                <a:solidFill>
                  <a:srgbClr val="369051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1090191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33146" y="26923"/>
            <a:ext cx="10725708" cy="697563"/>
          </a:xfrm>
        </p:spPr>
        <p:txBody>
          <a:bodyPr lIns="0" tIns="0" rIns="0" bIns="0"/>
          <a:lstStyle>
            <a:lvl1pPr>
              <a:defRPr sz="4533" b="1" i="0">
                <a:solidFill>
                  <a:srgbClr val="369051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3122286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126010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1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1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59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20776964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9467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23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01" y="321757"/>
            <a:ext cx="10957984" cy="63181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764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0" y="369864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1" y="1790358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1" y="1174745"/>
            <a:ext cx="11338559" cy="330200"/>
          </a:xfrm>
        </p:spPr>
        <p:txBody>
          <a:bodyPr/>
          <a:lstStyle>
            <a:lvl1pPr marL="0" indent="0">
              <a:buNone/>
              <a:defRPr sz="1867" b="1"/>
            </a:lvl1pPr>
            <a:lvl2pPr marL="350827" indent="0">
              <a:buNone/>
              <a:defRPr/>
            </a:lvl2pPr>
            <a:lvl3pPr marL="674671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23623" y="6121178"/>
            <a:ext cx="6264612" cy="169375"/>
          </a:xfrm>
        </p:spPr>
        <p:txBody>
          <a:bodyPr/>
          <a:lstStyle>
            <a:lvl1pPr algn="r"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0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8060274"/>
              </p:ext>
            </p:extLst>
          </p:nvPr>
        </p:nvGraphicFramePr>
        <p:xfrm>
          <a:off x="2124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4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218835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50814"/>
            <a:ext cx="10972801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192226531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565705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23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727960"/>
            <a:ext cx="12192000" cy="35255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1047570" y="1950405"/>
            <a:ext cx="10096865" cy="1080637"/>
          </a:xfrm>
          <a:prstGeom prst="rect">
            <a:avLst/>
          </a:prstGeom>
          <a:noFill/>
        </p:spPr>
        <p:txBody>
          <a:bodyPr wrap="square" lIns="121883" tIns="60941" rIns="121883" bIns="60941" rtlCol="0" anchor="ctr">
            <a:spAutoFit/>
          </a:bodyPr>
          <a:lstStyle/>
          <a:p>
            <a:pPr defTabSz="1218835">
              <a:lnSpc>
                <a:spcPts val="7464"/>
              </a:lnSpc>
            </a:pPr>
            <a:r>
              <a:rPr lang="en-US" sz="7200" b="1" dirty="0">
                <a:solidFill>
                  <a:srgbClr val="002776"/>
                </a:solidFill>
              </a:rPr>
              <a:t>THANK YOU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3" y="4030491"/>
            <a:ext cx="12191999" cy="2092880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ctr" defTabSz="1218835">
              <a:spcAft>
                <a:spcPts val="1600"/>
              </a:spcAft>
            </a:pPr>
            <a:r>
              <a:rPr lang="en-US" sz="2100" b="1" dirty="0">
                <a:solidFill>
                  <a:srgbClr val="009FDA"/>
                </a:solidFill>
              </a:rPr>
              <a:t>For More Information, Contact Us…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b="1" dirty="0">
                <a:solidFill>
                  <a:srgbClr val="616365"/>
                </a:solidFill>
              </a:rPr>
              <a:t>IRI Global Headquarters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150 North Clinton Street, Chicago, IL 60661-1416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IRI@IRIworldwide.com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+1 312.726.1221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dirty="0">
                <a:solidFill>
                  <a:srgbClr val="009FDA"/>
                </a:solidFill>
              </a:rPr>
              <a:t>Follow us on Twitter: </a:t>
            </a:r>
            <a:r>
              <a:rPr lang="en-US" sz="1600" b="1" dirty="0">
                <a:solidFill>
                  <a:srgbClr val="009FDA"/>
                </a:solidFill>
              </a:rPr>
              <a:t>@</a:t>
            </a:r>
            <a:r>
              <a:rPr lang="en-US" sz="1600" b="1" dirty="0" err="1">
                <a:solidFill>
                  <a:srgbClr val="009FDA"/>
                </a:solidFill>
              </a:rPr>
              <a:t>IRIworldwide</a:t>
            </a:r>
            <a:endParaRPr lang="en-US" sz="1600" b="1" dirty="0">
              <a:solidFill>
                <a:srgbClr val="009FDA"/>
              </a:solidFill>
            </a:endParaRP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8944188" y="1358139"/>
            <a:ext cx="1978993" cy="22793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793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eedPattern-Green-RGB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05"/>
          <a:stretch/>
        </p:blipFill>
        <p:spPr>
          <a:xfrm>
            <a:off x="8058754" y="0"/>
            <a:ext cx="413324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7613" y="3380513"/>
            <a:ext cx="6736712" cy="1547947"/>
          </a:xfrm>
        </p:spPr>
        <p:txBody>
          <a:bodyPr>
            <a:noAutofit/>
          </a:bodyPr>
          <a:lstStyle>
            <a:lvl1pPr algn="l">
              <a:lnSpc>
                <a:spcPts val="6400"/>
              </a:lnSpc>
              <a:defRPr sz="64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57613" y="4939172"/>
            <a:ext cx="6736712" cy="1528720"/>
          </a:xfrm>
        </p:spPr>
        <p:txBody>
          <a:bodyPr>
            <a:normAutofit/>
          </a:bodyPr>
          <a:lstStyle>
            <a:lvl1pPr marL="0" indent="0" algn="l">
              <a:lnSpc>
                <a:spcPts val="3733"/>
              </a:lnSpc>
              <a:buNone/>
              <a:defRPr sz="2667">
                <a:solidFill>
                  <a:srgbClr val="43404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69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2047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8754" y="0"/>
            <a:ext cx="4133247" cy="68580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757613" y="3380513"/>
            <a:ext cx="6736712" cy="1547947"/>
          </a:xfrm>
        </p:spPr>
        <p:txBody>
          <a:bodyPr>
            <a:noAutofit/>
          </a:bodyPr>
          <a:lstStyle>
            <a:lvl1pPr algn="l">
              <a:lnSpc>
                <a:spcPts val="6400"/>
              </a:lnSpc>
              <a:defRPr sz="64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757613" y="4939172"/>
            <a:ext cx="6736712" cy="1528720"/>
          </a:xfrm>
        </p:spPr>
        <p:txBody>
          <a:bodyPr>
            <a:normAutofit/>
          </a:bodyPr>
          <a:lstStyle>
            <a:lvl1pPr marL="0" indent="0" algn="l">
              <a:lnSpc>
                <a:spcPts val="3733"/>
              </a:lnSpc>
              <a:buNone/>
              <a:defRPr sz="2667">
                <a:solidFill>
                  <a:srgbClr val="43404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69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5903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8754" y="0"/>
            <a:ext cx="4133247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57613" y="3380513"/>
            <a:ext cx="6736712" cy="1547947"/>
          </a:xfrm>
        </p:spPr>
        <p:txBody>
          <a:bodyPr>
            <a:noAutofit/>
          </a:bodyPr>
          <a:lstStyle>
            <a:lvl1pPr algn="l">
              <a:lnSpc>
                <a:spcPts val="6400"/>
              </a:lnSpc>
              <a:defRPr sz="64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757613" y="4939172"/>
            <a:ext cx="6736712" cy="1528720"/>
          </a:xfrm>
        </p:spPr>
        <p:txBody>
          <a:bodyPr>
            <a:normAutofit/>
          </a:bodyPr>
          <a:lstStyle>
            <a:lvl1pPr marL="0" indent="0" algn="l">
              <a:lnSpc>
                <a:spcPts val="3733"/>
              </a:lnSpc>
              <a:buNone/>
              <a:defRPr sz="2667">
                <a:solidFill>
                  <a:srgbClr val="43404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69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0667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736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1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33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roject-Better-Together_SeedIcon_RGB.png"/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15" b="18756"/>
          <a:stretch/>
        </p:blipFill>
        <p:spPr>
          <a:xfrm>
            <a:off x="5854304" y="1286293"/>
            <a:ext cx="6337697" cy="557170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57613" y="3380513"/>
            <a:ext cx="6736712" cy="1547947"/>
          </a:xfrm>
        </p:spPr>
        <p:txBody>
          <a:bodyPr>
            <a:noAutofit/>
          </a:bodyPr>
          <a:lstStyle>
            <a:lvl1pPr algn="l">
              <a:lnSpc>
                <a:spcPts val="6400"/>
              </a:lnSpc>
              <a:defRPr sz="64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57613" y="4939172"/>
            <a:ext cx="6736712" cy="1528720"/>
          </a:xfrm>
        </p:spPr>
        <p:txBody>
          <a:bodyPr>
            <a:normAutofit/>
          </a:bodyPr>
          <a:lstStyle>
            <a:lvl1pPr marL="0" indent="0" algn="l">
              <a:lnSpc>
                <a:spcPts val="3733"/>
              </a:lnSpc>
              <a:buNone/>
              <a:defRPr sz="2667">
                <a:solidFill>
                  <a:srgbClr val="43404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69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764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roject Better Together_Farm work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744" y="0"/>
            <a:ext cx="8822257" cy="6858000"/>
          </a:xfrm>
          <a:prstGeom prst="rect">
            <a:avLst/>
          </a:prstGeom>
        </p:spPr>
      </p:pic>
      <p:pic>
        <p:nvPicPr>
          <p:cNvPr id="6" name="Picture 5" descr="Seed-Cutout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80" t="1841"/>
          <a:stretch/>
        </p:blipFill>
        <p:spPr>
          <a:xfrm>
            <a:off x="0" y="1"/>
            <a:ext cx="12204192" cy="68648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086" y="3306795"/>
            <a:ext cx="4561445" cy="2350928"/>
          </a:xfrm>
        </p:spPr>
        <p:txBody>
          <a:bodyPr>
            <a:noAutofit/>
          </a:bodyPr>
          <a:lstStyle>
            <a:lvl1pPr algn="l">
              <a:lnSpc>
                <a:spcPts val="5067"/>
              </a:lnSpc>
              <a:defRPr sz="5333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73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16538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282" y="0"/>
            <a:ext cx="9156719" cy="6858000"/>
          </a:xfrm>
          <a:prstGeom prst="rect">
            <a:avLst/>
          </a:prstGeom>
        </p:spPr>
      </p:pic>
      <p:pic>
        <p:nvPicPr>
          <p:cNvPr id="6" name="Picture 5" descr="Seed-Cutout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80" t="1841"/>
          <a:stretch/>
        </p:blipFill>
        <p:spPr>
          <a:xfrm>
            <a:off x="0" y="1"/>
            <a:ext cx="12204192" cy="68648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086" y="3306795"/>
            <a:ext cx="4561445" cy="2350928"/>
          </a:xfrm>
        </p:spPr>
        <p:txBody>
          <a:bodyPr>
            <a:noAutofit/>
          </a:bodyPr>
          <a:lstStyle>
            <a:lvl1pPr algn="l">
              <a:lnSpc>
                <a:spcPts val="5067"/>
              </a:lnSpc>
              <a:defRPr sz="5333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73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28257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roject Better Together_Lime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1557" y="0"/>
            <a:ext cx="9929068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062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086" y="3306795"/>
            <a:ext cx="4561445" cy="2350928"/>
          </a:xfrm>
        </p:spPr>
        <p:txBody>
          <a:bodyPr>
            <a:noAutofit/>
          </a:bodyPr>
          <a:lstStyle>
            <a:lvl1pPr algn="l">
              <a:lnSpc>
                <a:spcPts val="5067"/>
              </a:lnSpc>
              <a:defRPr sz="5333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73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4780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4341" y="0"/>
            <a:ext cx="7536284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062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086" y="3306795"/>
            <a:ext cx="4561445" cy="2350928"/>
          </a:xfrm>
        </p:spPr>
        <p:txBody>
          <a:bodyPr>
            <a:noAutofit/>
          </a:bodyPr>
          <a:lstStyle>
            <a:lvl1pPr algn="l">
              <a:lnSpc>
                <a:spcPts val="5067"/>
              </a:lnSpc>
              <a:defRPr sz="5333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73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189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5875" y="1"/>
            <a:ext cx="9496125" cy="68579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062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086" y="3306795"/>
            <a:ext cx="4561445" cy="2350928"/>
          </a:xfrm>
        </p:spPr>
        <p:txBody>
          <a:bodyPr>
            <a:noAutofit/>
          </a:bodyPr>
          <a:lstStyle>
            <a:lvl1pPr algn="l">
              <a:lnSpc>
                <a:spcPts val="5067"/>
              </a:lnSpc>
              <a:defRPr sz="5333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73" y="1095686"/>
            <a:ext cx="3167320" cy="18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198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2912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pic>
        <p:nvPicPr>
          <p:cNvPr id="7" name="Picture 6" descr="Project-Better-Together_SeedIcon_RGB.png"/>
          <p:cNvPicPr>
            <a:picLocks noChangeAspect="1"/>
          </p:cNvPicPr>
          <p:nvPr userDrawn="1"/>
        </p:nvPicPr>
        <p:blipFill rotWithShape="1">
          <a:blip r:embed="rId3" cstate="screen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15" b="18756"/>
          <a:stretch/>
        </p:blipFill>
        <p:spPr>
          <a:xfrm>
            <a:off x="5854304" y="1286293"/>
            <a:ext cx="6337697" cy="557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82746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16751"/>
            <a:ext cx="6601693" cy="1143000"/>
          </a:xfrm>
        </p:spPr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4837353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tx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9571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16751"/>
            <a:ext cx="5145225" cy="1143000"/>
          </a:xfrm>
        </p:spPr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45225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087362" y="0"/>
            <a:ext cx="6104639" cy="60631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670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2"/>
            <a:ext cx="12192000" cy="46228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0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16751"/>
            <a:ext cx="5145225" cy="1143000"/>
          </a:xfrm>
        </p:spPr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45225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Picture 8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87362" y="3031553"/>
            <a:ext cx="3043745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9119616" y="1"/>
            <a:ext cx="3072384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119616" y="3031554"/>
            <a:ext cx="3072384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087362" y="-1"/>
            <a:ext cx="3043745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39688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16751"/>
            <a:ext cx="5145225" cy="1143000"/>
          </a:xfrm>
        </p:spPr>
        <p:txBody>
          <a:bodyPr/>
          <a:lstStyle>
            <a:lvl1pPr algn="l">
              <a:defRPr>
                <a:solidFill>
                  <a:srgbClr val="E89D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45225" cy="4293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Picture 8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87362" y="3031553"/>
            <a:ext cx="3043745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9119616" y="1"/>
            <a:ext cx="3072384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088335" y="1"/>
            <a:ext cx="3042772" cy="3031551"/>
          </a:xfrm>
          <a:solidFill>
            <a:srgbClr val="8FBDAB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9137037" y="3031555"/>
            <a:ext cx="3054964" cy="3031551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473861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Picture 8" descr="Project-Better-Together_SeedIcon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chemeClr val="bg1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87362" y="3031553"/>
            <a:ext cx="3043745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9119616" y="1"/>
            <a:ext cx="3072384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088335" y="1"/>
            <a:ext cx="3042772" cy="3031551"/>
          </a:xfrm>
          <a:solidFill>
            <a:srgbClr val="FFFFFF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43404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9137037" y="3031555"/>
            <a:ext cx="3054964" cy="3031551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-21717" y="3031553"/>
            <a:ext cx="3043745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3010537" y="1"/>
            <a:ext cx="3072384" cy="303155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-20743" y="1"/>
            <a:ext cx="3042772" cy="3031551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43404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027958" y="3031555"/>
            <a:ext cx="3054964" cy="3031551"/>
          </a:xfrm>
          <a:solidFill>
            <a:srgbClr val="FFFFFF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354748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eedPattern-Green-RGB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24" r="19382"/>
          <a:stretch/>
        </p:blipFill>
        <p:spPr>
          <a:xfrm rot="5400000">
            <a:off x="2667003" y="-2666996"/>
            <a:ext cx="6858000" cy="12192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12" name="Picture 11" descr="Project-Better-Together_SeedIcon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rgbClr val="434043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63085" y="2872944"/>
            <a:ext cx="8220759" cy="1362075"/>
          </a:xfrm>
        </p:spPr>
        <p:txBody>
          <a:bodyPr anchor="t"/>
          <a:lstStyle>
            <a:lvl1pPr algn="l">
              <a:lnSpc>
                <a:spcPts val="4800"/>
              </a:lnSpc>
              <a:defRPr sz="5333" b="1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963085" y="1301700"/>
            <a:ext cx="8220759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86516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2872944"/>
            <a:ext cx="8220759" cy="1362075"/>
          </a:xfrm>
        </p:spPr>
        <p:txBody>
          <a:bodyPr anchor="t"/>
          <a:lstStyle>
            <a:lvl1pPr algn="l">
              <a:defRPr sz="5333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1372756"/>
            <a:ext cx="8220759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10" name="Picture 9" descr="Project-Better-Together_SeedIcon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rgbClr val="434043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6087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63085" y="2872944"/>
            <a:ext cx="8220759" cy="1362075"/>
          </a:xfrm>
        </p:spPr>
        <p:txBody>
          <a:bodyPr anchor="t"/>
          <a:lstStyle>
            <a:lvl1pPr algn="l">
              <a:lnSpc>
                <a:spcPts val="4800"/>
              </a:lnSpc>
              <a:defRPr sz="5333" b="1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963085" y="1301700"/>
            <a:ext cx="8220759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063106"/>
            <a:ext cx="12192000" cy="7948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12" name="Picture 11" descr="Project-Better-Together_SeedIcon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01" y="6252577"/>
            <a:ext cx="416577" cy="421860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8360" y="6273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 b="1">
                <a:solidFill>
                  <a:srgbClr val="434043"/>
                </a:solidFill>
              </a:defRPr>
            </a:lvl1pPr>
          </a:lstStyle>
          <a:p>
            <a:fld id="{AF05E7E8-3ED8-EA49-91FF-9F0CD4988AD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7397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6337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99882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5540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755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6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329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9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12646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715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44646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F05E7E8-3ED8-EA49-91FF-9F0CD4988A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694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5BD9AA6-9323-A67B-181A-1B89BF266891}"/>
              </a:ext>
            </a:extLst>
          </p:cNvPr>
          <p:cNvCxnSpPr>
            <a:cxnSpLocks/>
          </p:cNvCxnSpPr>
          <p:nvPr userDrawn="1"/>
        </p:nvCxnSpPr>
        <p:spPr>
          <a:xfrm>
            <a:off x="609600" y="6400800"/>
            <a:ext cx="59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42B1350-2DD7-85F3-897A-E489DCF9B73F}"/>
              </a:ext>
            </a:extLst>
          </p:cNvPr>
          <p:cNvSpPr txBox="1">
            <a:spLocks/>
          </p:cNvSpPr>
          <p:nvPr userDrawn="1"/>
        </p:nvSpPr>
        <p:spPr>
          <a:xfrm>
            <a:off x="5867400" y="6477000"/>
            <a:ext cx="685800" cy="273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A2CCCF-2A3B-40CD-A8D8-9BDE2533416A}" type="slidenum">
              <a:rPr lang="en-US" sz="1200" smtClean="0"/>
              <a:pPr algn="r"/>
              <a:t>‹#›</a:t>
            </a:fld>
            <a:endParaRPr lang="en-US" sz="12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5CFDFB8-1B96-48F1-08C7-96ACA46412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0400" y="0"/>
            <a:ext cx="5242560" cy="685800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F42E295-4E99-775F-0C30-E2EECA6BCF49}"/>
              </a:ext>
            </a:extLst>
          </p:cNvPr>
          <p:cNvSpPr/>
          <p:nvPr userDrawn="1"/>
        </p:nvSpPr>
        <p:spPr>
          <a:xfrm>
            <a:off x="7010400" y="0"/>
            <a:ext cx="5242560" cy="6858000"/>
          </a:xfrm>
          <a:custGeom>
            <a:avLst/>
            <a:gdLst>
              <a:gd name="connsiteX0" fmla="*/ 0 w 5242560"/>
              <a:gd name="connsiteY0" fmla="*/ 6810281 h 6858000"/>
              <a:gd name="connsiteX1" fmla="*/ 8255 w 5242560"/>
              <a:gd name="connsiteY1" fmla="*/ 6830233 h 6858000"/>
              <a:gd name="connsiteX2" fmla="*/ 9325 w 5242560"/>
              <a:gd name="connsiteY2" fmla="*/ 6858000 h 6858000"/>
              <a:gd name="connsiteX3" fmla="*/ 0 w 5242560"/>
              <a:gd name="connsiteY3" fmla="*/ 6858000 h 6858000"/>
              <a:gd name="connsiteX4" fmla="*/ 4683390 w 5242560"/>
              <a:gd name="connsiteY4" fmla="*/ 6758253 h 6858000"/>
              <a:gd name="connsiteX5" fmla="*/ 4778207 w 5242560"/>
              <a:gd name="connsiteY5" fmla="*/ 6830233 h 6858000"/>
              <a:gd name="connsiteX6" fmla="*/ 4779276 w 5242560"/>
              <a:gd name="connsiteY6" fmla="*/ 6858000 h 6858000"/>
              <a:gd name="connsiteX7" fmla="*/ 4558663 w 5242560"/>
              <a:gd name="connsiteY7" fmla="*/ 6858000 h 6858000"/>
              <a:gd name="connsiteX8" fmla="*/ 4568548 w 5242560"/>
              <a:gd name="connsiteY8" fmla="*/ 6841322 h 6858000"/>
              <a:gd name="connsiteX9" fmla="*/ 4647496 w 5242560"/>
              <a:gd name="connsiteY9" fmla="*/ 6770656 h 6858000"/>
              <a:gd name="connsiteX10" fmla="*/ 4647496 w 5242560"/>
              <a:gd name="connsiteY10" fmla="*/ 6770709 h 6858000"/>
              <a:gd name="connsiteX11" fmla="*/ 4683390 w 5242560"/>
              <a:gd name="connsiteY11" fmla="*/ 6758253 h 6858000"/>
              <a:gd name="connsiteX12" fmla="*/ 3729443 w 5242560"/>
              <a:gd name="connsiteY12" fmla="*/ 6758253 h 6858000"/>
              <a:gd name="connsiteX13" fmla="*/ 3824259 w 5242560"/>
              <a:gd name="connsiteY13" fmla="*/ 6830233 h 6858000"/>
              <a:gd name="connsiteX14" fmla="*/ 3825329 w 5242560"/>
              <a:gd name="connsiteY14" fmla="*/ 6858000 h 6858000"/>
              <a:gd name="connsiteX15" fmla="*/ 3604716 w 5242560"/>
              <a:gd name="connsiteY15" fmla="*/ 6858000 h 6858000"/>
              <a:gd name="connsiteX16" fmla="*/ 3614600 w 5242560"/>
              <a:gd name="connsiteY16" fmla="*/ 6841322 h 6858000"/>
              <a:gd name="connsiteX17" fmla="*/ 3693548 w 5242560"/>
              <a:gd name="connsiteY17" fmla="*/ 6770656 h 6858000"/>
              <a:gd name="connsiteX18" fmla="*/ 3693548 w 5242560"/>
              <a:gd name="connsiteY18" fmla="*/ 6770709 h 6858000"/>
              <a:gd name="connsiteX19" fmla="*/ 3729443 w 5242560"/>
              <a:gd name="connsiteY19" fmla="*/ 6758253 h 6858000"/>
              <a:gd name="connsiteX20" fmla="*/ 2775442 w 5242560"/>
              <a:gd name="connsiteY20" fmla="*/ 6758253 h 6858000"/>
              <a:gd name="connsiteX21" fmla="*/ 2870258 w 5242560"/>
              <a:gd name="connsiteY21" fmla="*/ 6830233 h 6858000"/>
              <a:gd name="connsiteX22" fmla="*/ 2871328 w 5242560"/>
              <a:gd name="connsiteY22" fmla="*/ 6858000 h 6858000"/>
              <a:gd name="connsiteX23" fmla="*/ 2650715 w 5242560"/>
              <a:gd name="connsiteY23" fmla="*/ 6858000 h 6858000"/>
              <a:gd name="connsiteX24" fmla="*/ 2660599 w 5242560"/>
              <a:gd name="connsiteY24" fmla="*/ 6841322 h 6858000"/>
              <a:gd name="connsiteX25" fmla="*/ 2739548 w 5242560"/>
              <a:gd name="connsiteY25" fmla="*/ 6770656 h 6858000"/>
              <a:gd name="connsiteX26" fmla="*/ 2739548 w 5242560"/>
              <a:gd name="connsiteY26" fmla="*/ 6770709 h 6858000"/>
              <a:gd name="connsiteX27" fmla="*/ 2775442 w 5242560"/>
              <a:gd name="connsiteY27" fmla="*/ 6758253 h 6858000"/>
              <a:gd name="connsiteX28" fmla="*/ 1821494 w 5242560"/>
              <a:gd name="connsiteY28" fmla="*/ 6758253 h 6858000"/>
              <a:gd name="connsiteX29" fmla="*/ 1916311 w 5242560"/>
              <a:gd name="connsiteY29" fmla="*/ 6830233 h 6858000"/>
              <a:gd name="connsiteX30" fmla="*/ 1917381 w 5242560"/>
              <a:gd name="connsiteY30" fmla="*/ 6858000 h 6858000"/>
              <a:gd name="connsiteX31" fmla="*/ 1696768 w 5242560"/>
              <a:gd name="connsiteY31" fmla="*/ 6858000 h 6858000"/>
              <a:gd name="connsiteX32" fmla="*/ 1706652 w 5242560"/>
              <a:gd name="connsiteY32" fmla="*/ 6841322 h 6858000"/>
              <a:gd name="connsiteX33" fmla="*/ 1785600 w 5242560"/>
              <a:gd name="connsiteY33" fmla="*/ 6770656 h 6858000"/>
              <a:gd name="connsiteX34" fmla="*/ 1785600 w 5242560"/>
              <a:gd name="connsiteY34" fmla="*/ 6770709 h 6858000"/>
              <a:gd name="connsiteX35" fmla="*/ 1821494 w 5242560"/>
              <a:gd name="connsiteY35" fmla="*/ 6758253 h 6858000"/>
              <a:gd name="connsiteX36" fmla="*/ 867440 w 5242560"/>
              <a:gd name="connsiteY36" fmla="*/ 6758253 h 6858000"/>
              <a:gd name="connsiteX37" fmla="*/ 962256 w 5242560"/>
              <a:gd name="connsiteY37" fmla="*/ 6830233 h 6858000"/>
              <a:gd name="connsiteX38" fmla="*/ 963326 w 5242560"/>
              <a:gd name="connsiteY38" fmla="*/ 6858000 h 6858000"/>
              <a:gd name="connsiteX39" fmla="*/ 742713 w 5242560"/>
              <a:gd name="connsiteY39" fmla="*/ 6858000 h 6858000"/>
              <a:gd name="connsiteX40" fmla="*/ 752597 w 5242560"/>
              <a:gd name="connsiteY40" fmla="*/ 6841322 h 6858000"/>
              <a:gd name="connsiteX41" fmla="*/ 831546 w 5242560"/>
              <a:gd name="connsiteY41" fmla="*/ 6770656 h 6858000"/>
              <a:gd name="connsiteX42" fmla="*/ 831546 w 5242560"/>
              <a:gd name="connsiteY42" fmla="*/ 6770709 h 6858000"/>
              <a:gd name="connsiteX43" fmla="*/ 867440 w 5242560"/>
              <a:gd name="connsiteY43" fmla="*/ 6758253 h 6858000"/>
              <a:gd name="connsiteX44" fmla="*/ 4801014 w 5242560"/>
              <a:gd name="connsiteY44" fmla="*/ 6644830 h 6858000"/>
              <a:gd name="connsiteX45" fmla="*/ 5018490 w 5242560"/>
              <a:gd name="connsiteY45" fmla="*/ 6733481 h 6858000"/>
              <a:gd name="connsiteX46" fmla="*/ 5015672 w 5242560"/>
              <a:gd name="connsiteY46" fmla="*/ 6855584 h 6858000"/>
              <a:gd name="connsiteX47" fmla="*/ 5012261 w 5242560"/>
              <a:gd name="connsiteY47" fmla="*/ 6858000 h 6858000"/>
              <a:gd name="connsiteX48" fmla="*/ 4894795 w 5242560"/>
              <a:gd name="connsiteY48" fmla="*/ 6858000 h 6858000"/>
              <a:gd name="connsiteX49" fmla="*/ 4893737 w 5242560"/>
              <a:gd name="connsiteY49" fmla="*/ 6857325 h 6858000"/>
              <a:gd name="connsiteX50" fmla="*/ 4801014 w 5242560"/>
              <a:gd name="connsiteY50" fmla="*/ 6644830 h 6858000"/>
              <a:gd name="connsiteX51" fmla="*/ 3847068 w 5242560"/>
              <a:gd name="connsiteY51" fmla="*/ 6644830 h 6858000"/>
              <a:gd name="connsiteX52" fmla="*/ 4064543 w 5242560"/>
              <a:gd name="connsiteY52" fmla="*/ 6733481 h 6858000"/>
              <a:gd name="connsiteX53" fmla="*/ 4061724 w 5242560"/>
              <a:gd name="connsiteY53" fmla="*/ 6855584 h 6858000"/>
              <a:gd name="connsiteX54" fmla="*/ 4058313 w 5242560"/>
              <a:gd name="connsiteY54" fmla="*/ 6858000 h 6858000"/>
              <a:gd name="connsiteX55" fmla="*/ 3940848 w 5242560"/>
              <a:gd name="connsiteY55" fmla="*/ 6858000 h 6858000"/>
              <a:gd name="connsiteX56" fmla="*/ 3939790 w 5242560"/>
              <a:gd name="connsiteY56" fmla="*/ 6857325 h 6858000"/>
              <a:gd name="connsiteX57" fmla="*/ 3847068 w 5242560"/>
              <a:gd name="connsiteY57" fmla="*/ 6644830 h 6858000"/>
              <a:gd name="connsiteX58" fmla="*/ 2893066 w 5242560"/>
              <a:gd name="connsiteY58" fmla="*/ 6644830 h 6858000"/>
              <a:gd name="connsiteX59" fmla="*/ 3110542 w 5242560"/>
              <a:gd name="connsiteY59" fmla="*/ 6733481 h 6858000"/>
              <a:gd name="connsiteX60" fmla="*/ 3107723 w 5242560"/>
              <a:gd name="connsiteY60" fmla="*/ 6855584 h 6858000"/>
              <a:gd name="connsiteX61" fmla="*/ 3104312 w 5242560"/>
              <a:gd name="connsiteY61" fmla="*/ 6858000 h 6858000"/>
              <a:gd name="connsiteX62" fmla="*/ 2986847 w 5242560"/>
              <a:gd name="connsiteY62" fmla="*/ 6858000 h 6858000"/>
              <a:gd name="connsiteX63" fmla="*/ 2985789 w 5242560"/>
              <a:gd name="connsiteY63" fmla="*/ 6857325 h 6858000"/>
              <a:gd name="connsiteX64" fmla="*/ 2893066 w 5242560"/>
              <a:gd name="connsiteY64" fmla="*/ 6644830 h 6858000"/>
              <a:gd name="connsiteX65" fmla="*/ 1939172 w 5242560"/>
              <a:gd name="connsiteY65" fmla="*/ 6644830 h 6858000"/>
              <a:gd name="connsiteX66" fmla="*/ 2156648 w 5242560"/>
              <a:gd name="connsiteY66" fmla="*/ 6733481 h 6858000"/>
              <a:gd name="connsiteX67" fmla="*/ 2153830 w 5242560"/>
              <a:gd name="connsiteY67" fmla="*/ 6855584 h 6858000"/>
              <a:gd name="connsiteX68" fmla="*/ 2150419 w 5242560"/>
              <a:gd name="connsiteY68" fmla="*/ 6858000 h 6858000"/>
              <a:gd name="connsiteX69" fmla="*/ 2032953 w 5242560"/>
              <a:gd name="connsiteY69" fmla="*/ 6858000 h 6858000"/>
              <a:gd name="connsiteX70" fmla="*/ 2031895 w 5242560"/>
              <a:gd name="connsiteY70" fmla="*/ 6857325 h 6858000"/>
              <a:gd name="connsiteX71" fmla="*/ 1939172 w 5242560"/>
              <a:gd name="connsiteY71" fmla="*/ 6644830 h 6858000"/>
              <a:gd name="connsiteX72" fmla="*/ 985064 w 5242560"/>
              <a:gd name="connsiteY72" fmla="*/ 6644830 h 6858000"/>
              <a:gd name="connsiteX73" fmla="*/ 1202540 w 5242560"/>
              <a:gd name="connsiteY73" fmla="*/ 6733481 h 6858000"/>
              <a:gd name="connsiteX74" fmla="*/ 1199722 w 5242560"/>
              <a:gd name="connsiteY74" fmla="*/ 6855584 h 6858000"/>
              <a:gd name="connsiteX75" fmla="*/ 1196310 w 5242560"/>
              <a:gd name="connsiteY75" fmla="*/ 6858000 h 6858000"/>
              <a:gd name="connsiteX76" fmla="*/ 1078845 w 5242560"/>
              <a:gd name="connsiteY76" fmla="*/ 6858000 h 6858000"/>
              <a:gd name="connsiteX77" fmla="*/ 1077787 w 5242560"/>
              <a:gd name="connsiteY77" fmla="*/ 6857325 h 6858000"/>
              <a:gd name="connsiteX78" fmla="*/ 985064 w 5242560"/>
              <a:gd name="connsiteY78" fmla="*/ 6644830 h 6858000"/>
              <a:gd name="connsiteX79" fmla="*/ 31117 w 5242560"/>
              <a:gd name="connsiteY79" fmla="*/ 6644830 h 6858000"/>
              <a:gd name="connsiteX80" fmla="*/ 248593 w 5242560"/>
              <a:gd name="connsiteY80" fmla="*/ 6733481 h 6858000"/>
              <a:gd name="connsiteX81" fmla="*/ 245774 w 5242560"/>
              <a:gd name="connsiteY81" fmla="*/ 6855584 h 6858000"/>
              <a:gd name="connsiteX82" fmla="*/ 242363 w 5242560"/>
              <a:gd name="connsiteY82" fmla="*/ 6858000 h 6858000"/>
              <a:gd name="connsiteX83" fmla="*/ 124898 w 5242560"/>
              <a:gd name="connsiteY83" fmla="*/ 6858000 h 6858000"/>
              <a:gd name="connsiteX84" fmla="*/ 123839 w 5242560"/>
              <a:gd name="connsiteY84" fmla="*/ 6857325 h 6858000"/>
              <a:gd name="connsiteX85" fmla="*/ 31117 w 5242560"/>
              <a:gd name="connsiteY85" fmla="*/ 6644830 h 6858000"/>
              <a:gd name="connsiteX86" fmla="*/ 4533669 w 5242560"/>
              <a:gd name="connsiteY86" fmla="*/ 6640224 h 6858000"/>
              <a:gd name="connsiteX87" fmla="*/ 4445019 w 5242560"/>
              <a:gd name="connsiteY87" fmla="*/ 6857699 h 6858000"/>
              <a:gd name="connsiteX88" fmla="*/ 4444536 w 5242560"/>
              <a:gd name="connsiteY88" fmla="*/ 6858000 h 6858000"/>
              <a:gd name="connsiteX89" fmla="*/ 4327254 w 5242560"/>
              <a:gd name="connsiteY89" fmla="*/ 6858000 h 6858000"/>
              <a:gd name="connsiteX90" fmla="*/ 4322917 w 5242560"/>
              <a:gd name="connsiteY90" fmla="*/ 6854881 h 6858000"/>
              <a:gd name="connsiteX91" fmla="*/ 4321176 w 5242560"/>
              <a:gd name="connsiteY91" fmla="*/ 6732946 h 6858000"/>
              <a:gd name="connsiteX92" fmla="*/ 4533669 w 5242560"/>
              <a:gd name="connsiteY92" fmla="*/ 6640224 h 6858000"/>
              <a:gd name="connsiteX93" fmla="*/ 3579723 w 5242560"/>
              <a:gd name="connsiteY93" fmla="*/ 6640224 h 6858000"/>
              <a:gd name="connsiteX94" fmla="*/ 3491072 w 5242560"/>
              <a:gd name="connsiteY94" fmla="*/ 6857699 h 6858000"/>
              <a:gd name="connsiteX95" fmla="*/ 3490589 w 5242560"/>
              <a:gd name="connsiteY95" fmla="*/ 6858000 h 6858000"/>
              <a:gd name="connsiteX96" fmla="*/ 3373306 w 5242560"/>
              <a:gd name="connsiteY96" fmla="*/ 6858000 h 6858000"/>
              <a:gd name="connsiteX97" fmla="*/ 3368969 w 5242560"/>
              <a:gd name="connsiteY97" fmla="*/ 6854881 h 6858000"/>
              <a:gd name="connsiteX98" fmla="*/ 3367228 w 5242560"/>
              <a:gd name="connsiteY98" fmla="*/ 6732946 h 6858000"/>
              <a:gd name="connsiteX99" fmla="*/ 3579723 w 5242560"/>
              <a:gd name="connsiteY99" fmla="*/ 6640224 h 6858000"/>
              <a:gd name="connsiteX100" fmla="*/ 2625722 w 5242560"/>
              <a:gd name="connsiteY100" fmla="*/ 6640224 h 6858000"/>
              <a:gd name="connsiteX101" fmla="*/ 2537070 w 5242560"/>
              <a:gd name="connsiteY101" fmla="*/ 6857699 h 6858000"/>
              <a:gd name="connsiteX102" fmla="*/ 2536588 w 5242560"/>
              <a:gd name="connsiteY102" fmla="*/ 6858000 h 6858000"/>
              <a:gd name="connsiteX103" fmla="*/ 2419305 w 5242560"/>
              <a:gd name="connsiteY103" fmla="*/ 6858000 h 6858000"/>
              <a:gd name="connsiteX104" fmla="*/ 2414968 w 5242560"/>
              <a:gd name="connsiteY104" fmla="*/ 6854881 h 6858000"/>
              <a:gd name="connsiteX105" fmla="*/ 2413227 w 5242560"/>
              <a:gd name="connsiteY105" fmla="*/ 6732946 h 6858000"/>
              <a:gd name="connsiteX106" fmla="*/ 2625722 w 5242560"/>
              <a:gd name="connsiteY106" fmla="*/ 6640224 h 6858000"/>
              <a:gd name="connsiteX107" fmla="*/ 1671827 w 5242560"/>
              <a:gd name="connsiteY107" fmla="*/ 6640224 h 6858000"/>
              <a:gd name="connsiteX108" fmla="*/ 1583177 w 5242560"/>
              <a:gd name="connsiteY108" fmla="*/ 6857699 h 6858000"/>
              <a:gd name="connsiteX109" fmla="*/ 1582695 w 5242560"/>
              <a:gd name="connsiteY109" fmla="*/ 6858000 h 6858000"/>
              <a:gd name="connsiteX110" fmla="*/ 1465411 w 5242560"/>
              <a:gd name="connsiteY110" fmla="*/ 6858000 h 6858000"/>
              <a:gd name="connsiteX111" fmla="*/ 1461074 w 5242560"/>
              <a:gd name="connsiteY111" fmla="*/ 6854881 h 6858000"/>
              <a:gd name="connsiteX112" fmla="*/ 1459333 w 5242560"/>
              <a:gd name="connsiteY112" fmla="*/ 6732946 h 6858000"/>
              <a:gd name="connsiteX113" fmla="*/ 1671827 w 5242560"/>
              <a:gd name="connsiteY113" fmla="*/ 6640224 h 6858000"/>
              <a:gd name="connsiteX114" fmla="*/ 717720 w 5242560"/>
              <a:gd name="connsiteY114" fmla="*/ 6640224 h 6858000"/>
              <a:gd name="connsiteX115" fmla="*/ 629069 w 5242560"/>
              <a:gd name="connsiteY115" fmla="*/ 6857699 h 6858000"/>
              <a:gd name="connsiteX116" fmla="*/ 628586 w 5242560"/>
              <a:gd name="connsiteY116" fmla="*/ 6858000 h 6858000"/>
              <a:gd name="connsiteX117" fmla="*/ 511303 w 5242560"/>
              <a:gd name="connsiteY117" fmla="*/ 6858000 h 6858000"/>
              <a:gd name="connsiteX118" fmla="*/ 506966 w 5242560"/>
              <a:gd name="connsiteY118" fmla="*/ 6854881 h 6858000"/>
              <a:gd name="connsiteX119" fmla="*/ 505225 w 5242560"/>
              <a:gd name="connsiteY119" fmla="*/ 6732946 h 6858000"/>
              <a:gd name="connsiteX120" fmla="*/ 717720 w 5242560"/>
              <a:gd name="connsiteY120" fmla="*/ 6640224 h 6858000"/>
              <a:gd name="connsiteX121" fmla="*/ 5013404 w 5242560"/>
              <a:gd name="connsiteY121" fmla="*/ 6398098 h 6858000"/>
              <a:gd name="connsiteX122" fmla="*/ 5071038 w 5242560"/>
              <a:gd name="connsiteY122" fmla="*/ 6436997 h 6858000"/>
              <a:gd name="connsiteX123" fmla="*/ 5114266 w 5242560"/>
              <a:gd name="connsiteY123" fmla="*/ 6664757 h 6858000"/>
              <a:gd name="connsiteX124" fmla="*/ 4921912 w 5242560"/>
              <a:gd name="connsiteY124" fmla="*/ 6530040 h 6858000"/>
              <a:gd name="connsiteX125" fmla="*/ 5013404 w 5242560"/>
              <a:gd name="connsiteY125" fmla="*/ 6398098 h 6858000"/>
              <a:gd name="connsiteX126" fmla="*/ 4059456 w 5242560"/>
              <a:gd name="connsiteY126" fmla="*/ 6398098 h 6858000"/>
              <a:gd name="connsiteX127" fmla="*/ 4117091 w 5242560"/>
              <a:gd name="connsiteY127" fmla="*/ 6436997 h 6858000"/>
              <a:gd name="connsiteX128" fmla="*/ 4160265 w 5242560"/>
              <a:gd name="connsiteY128" fmla="*/ 6664757 h 6858000"/>
              <a:gd name="connsiteX129" fmla="*/ 3967911 w 5242560"/>
              <a:gd name="connsiteY129" fmla="*/ 6530040 h 6858000"/>
              <a:gd name="connsiteX130" fmla="*/ 3967965 w 5242560"/>
              <a:gd name="connsiteY130" fmla="*/ 6530040 h 6858000"/>
              <a:gd name="connsiteX131" fmla="*/ 4059456 w 5242560"/>
              <a:gd name="connsiteY131" fmla="*/ 6398098 h 6858000"/>
              <a:gd name="connsiteX132" fmla="*/ 3105455 w 5242560"/>
              <a:gd name="connsiteY132" fmla="*/ 6398098 h 6858000"/>
              <a:gd name="connsiteX133" fmla="*/ 3163090 w 5242560"/>
              <a:gd name="connsiteY133" fmla="*/ 6436997 h 6858000"/>
              <a:gd name="connsiteX134" fmla="*/ 3206318 w 5242560"/>
              <a:gd name="connsiteY134" fmla="*/ 6664757 h 6858000"/>
              <a:gd name="connsiteX135" fmla="*/ 3013964 w 5242560"/>
              <a:gd name="connsiteY135" fmla="*/ 6530040 h 6858000"/>
              <a:gd name="connsiteX136" fmla="*/ 3105455 w 5242560"/>
              <a:gd name="connsiteY136" fmla="*/ 6398098 h 6858000"/>
              <a:gd name="connsiteX137" fmla="*/ 2151508 w 5242560"/>
              <a:gd name="connsiteY137" fmla="*/ 6398098 h 6858000"/>
              <a:gd name="connsiteX138" fmla="*/ 2209143 w 5242560"/>
              <a:gd name="connsiteY138" fmla="*/ 6436997 h 6858000"/>
              <a:gd name="connsiteX139" fmla="*/ 2252317 w 5242560"/>
              <a:gd name="connsiteY139" fmla="*/ 6664757 h 6858000"/>
              <a:gd name="connsiteX140" fmla="*/ 2059963 w 5242560"/>
              <a:gd name="connsiteY140" fmla="*/ 6530040 h 6858000"/>
              <a:gd name="connsiteX141" fmla="*/ 2060016 w 5242560"/>
              <a:gd name="connsiteY141" fmla="*/ 6530040 h 6858000"/>
              <a:gd name="connsiteX142" fmla="*/ 2151508 w 5242560"/>
              <a:gd name="connsiteY142" fmla="*/ 6398098 h 6858000"/>
              <a:gd name="connsiteX143" fmla="*/ 1197454 w 5242560"/>
              <a:gd name="connsiteY143" fmla="*/ 6398098 h 6858000"/>
              <a:gd name="connsiteX144" fmla="*/ 1255088 w 5242560"/>
              <a:gd name="connsiteY144" fmla="*/ 6436997 h 6858000"/>
              <a:gd name="connsiteX145" fmla="*/ 1298316 w 5242560"/>
              <a:gd name="connsiteY145" fmla="*/ 6664757 h 6858000"/>
              <a:gd name="connsiteX146" fmla="*/ 1105962 w 5242560"/>
              <a:gd name="connsiteY146" fmla="*/ 6530040 h 6858000"/>
              <a:gd name="connsiteX147" fmla="*/ 1197454 w 5242560"/>
              <a:gd name="connsiteY147" fmla="*/ 6398098 h 6858000"/>
              <a:gd name="connsiteX148" fmla="*/ 243452 w 5242560"/>
              <a:gd name="connsiteY148" fmla="*/ 6398098 h 6858000"/>
              <a:gd name="connsiteX149" fmla="*/ 301087 w 5242560"/>
              <a:gd name="connsiteY149" fmla="*/ 6436997 h 6858000"/>
              <a:gd name="connsiteX150" fmla="*/ 344315 w 5242560"/>
              <a:gd name="connsiteY150" fmla="*/ 6664757 h 6858000"/>
              <a:gd name="connsiteX151" fmla="*/ 151961 w 5242560"/>
              <a:gd name="connsiteY151" fmla="*/ 6530040 h 6858000"/>
              <a:gd name="connsiteX152" fmla="*/ 243452 w 5242560"/>
              <a:gd name="connsiteY152" fmla="*/ 6398098 h 6858000"/>
              <a:gd name="connsiteX153" fmla="*/ 5165582 w 5242560"/>
              <a:gd name="connsiteY153" fmla="*/ 6341864 h 6858000"/>
              <a:gd name="connsiteX154" fmla="*/ 5233608 w 5242560"/>
              <a:gd name="connsiteY154" fmla="*/ 6365844 h 6858000"/>
              <a:gd name="connsiteX155" fmla="*/ 5242560 w 5242560"/>
              <a:gd name="connsiteY155" fmla="*/ 6371149 h 6858000"/>
              <a:gd name="connsiteX156" fmla="*/ 5242560 w 5242560"/>
              <a:gd name="connsiteY156" fmla="*/ 6599389 h 6858000"/>
              <a:gd name="connsiteX157" fmla="*/ 5235424 w 5242560"/>
              <a:gd name="connsiteY157" fmla="*/ 6596654 h 6858000"/>
              <a:gd name="connsiteX158" fmla="*/ 5208756 w 5242560"/>
              <a:gd name="connsiteY158" fmla="*/ 6569625 h 6858000"/>
              <a:gd name="connsiteX159" fmla="*/ 5165582 w 5242560"/>
              <a:gd name="connsiteY159" fmla="*/ 6341864 h 6858000"/>
              <a:gd name="connsiteX160" fmla="*/ 4211688 w 5242560"/>
              <a:gd name="connsiteY160" fmla="*/ 6341864 h 6858000"/>
              <a:gd name="connsiteX161" fmla="*/ 4404042 w 5242560"/>
              <a:gd name="connsiteY161" fmla="*/ 6476582 h 6858000"/>
              <a:gd name="connsiteX162" fmla="*/ 4403988 w 5242560"/>
              <a:gd name="connsiteY162" fmla="*/ 6476582 h 6858000"/>
              <a:gd name="connsiteX163" fmla="*/ 4254862 w 5242560"/>
              <a:gd name="connsiteY163" fmla="*/ 6569625 h 6858000"/>
              <a:gd name="connsiteX164" fmla="*/ 4211688 w 5242560"/>
              <a:gd name="connsiteY164" fmla="*/ 6341864 h 6858000"/>
              <a:gd name="connsiteX165" fmla="*/ 3257740 w 5242560"/>
              <a:gd name="connsiteY165" fmla="*/ 6341864 h 6858000"/>
              <a:gd name="connsiteX166" fmla="*/ 3450094 w 5242560"/>
              <a:gd name="connsiteY166" fmla="*/ 6476582 h 6858000"/>
              <a:gd name="connsiteX167" fmla="*/ 3450040 w 5242560"/>
              <a:gd name="connsiteY167" fmla="*/ 6476582 h 6858000"/>
              <a:gd name="connsiteX168" fmla="*/ 3300914 w 5242560"/>
              <a:gd name="connsiteY168" fmla="*/ 6569625 h 6858000"/>
              <a:gd name="connsiteX169" fmla="*/ 3257740 w 5242560"/>
              <a:gd name="connsiteY169" fmla="*/ 6341864 h 6858000"/>
              <a:gd name="connsiteX170" fmla="*/ 2303739 w 5242560"/>
              <a:gd name="connsiteY170" fmla="*/ 6341864 h 6858000"/>
              <a:gd name="connsiteX171" fmla="*/ 2496093 w 5242560"/>
              <a:gd name="connsiteY171" fmla="*/ 6476582 h 6858000"/>
              <a:gd name="connsiteX172" fmla="*/ 2496040 w 5242560"/>
              <a:gd name="connsiteY172" fmla="*/ 6476582 h 6858000"/>
              <a:gd name="connsiteX173" fmla="*/ 2346913 w 5242560"/>
              <a:gd name="connsiteY173" fmla="*/ 6569625 h 6858000"/>
              <a:gd name="connsiteX174" fmla="*/ 2303739 w 5242560"/>
              <a:gd name="connsiteY174" fmla="*/ 6341864 h 6858000"/>
              <a:gd name="connsiteX175" fmla="*/ 1349792 w 5242560"/>
              <a:gd name="connsiteY175" fmla="*/ 6341864 h 6858000"/>
              <a:gd name="connsiteX176" fmla="*/ 1542146 w 5242560"/>
              <a:gd name="connsiteY176" fmla="*/ 6476582 h 6858000"/>
              <a:gd name="connsiteX177" fmla="*/ 1393019 w 5242560"/>
              <a:gd name="connsiteY177" fmla="*/ 6569625 h 6858000"/>
              <a:gd name="connsiteX178" fmla="*/ 1349792 w 5242560"/>
              <a:gd name="connsiteY178" fmla="*/ 6341864 h 6858000"/>
              <a:gd name="connsiteX179" fmla="*/ 395737 w 5242560"/>
              <a:gd name="connsiteY179" fmla="*/ 6341864 h 6858000"/>
              <a:gd name="connsiteX180" fmla="*/ 588091 w 5242560"/>
              <a:gd name="connsiteY180" fmla="*/ 6476582 h 6858000"/>
              <a:gd name="connsiteX181" fmla="*/ 588037 w 5242560"/>
              <a:gd name="connsiteY181" fmla="*/ 6476582 h 6858000"/>
              <a:gd name="connsiteX182" fmla="*/ 438911 w 5242560"/>
              <a:gd name="connsiteY182" fmla="*/ 6569625 h 6858000"/>
              <a:gd name="connsiteX183" fmla="*/ 395737 w 5242560"/>
              <a:gd name="connsiteY183" fmla="*/ 6341864 h 6858000"/>
              <a:gd name="connsiteX184" fmla="*/ 4959261 w 5242560"/>
              <a:gd name="connsiteY184" fmla="*/ 6125916 h 6858000"/>
              <a:gd name="connsiteX185" fmla="*/ 5017955 w 5242560"/>
              <a:gd name="connsiteY185" fmla="*/ 6275175 h 6858000"/>
              <a:gd name="connsiteX186" fmla="*/ 4805460 w 5242560"/>
              <a:gd name="connsiteY186" fmla="*/ 6367897 h 6858000"/>
              <a:gd name="connsiteX187" fmla="*/ 4894112 w 5242560"/>
              <a:gd name="connsiteY187" fmla="*/ 6150421 h 6858000"/>
              <a:gd name="connsiteX188" fmla="*/ 4959261 w 5242560"/>
              <a:gd name="connsiteY188" fmla="*/ 6125916 h 6858000"/>
              <a:gd name="connsiteX189" fmla="*/ 4005313 w 5242560"/>
              <a:gd name="connsiteY189" fmla="*/ 6125916 h 6858000"/>
              <a:gd name="connsiteX190" fmla="*/ 4064008 w 5242560"/>
              <a:gd name="connsiteY190" fmla="*/ 6275175 h 6858000"/>
              <a:gd name="connsiteX191" fmla="*/ 3851513 w 5242560"/>
              <a:gd name="connsiteY191" fmla="*/ 6367897 h 6858000"/>
              <a:gd name="connsiteX192" fmla="*/ 3940164 w 5242560"/>
              <a:gd name="connsiteY192" fmla="*/ 6150421 h 6858000"/>
              <a:gd name="connsiteX193" fmla="*/ 4005313 w 5242560"/>
              <a:gd name="connsiteY193" fmla="*/ 6125916 h 6858000"/>
              <a:gd name="connsiteX194" fmla="*/ 3051312 w 5242560"/>
              <a:gd name="connsiteY194" fmla="*/ 6125916 h 6858000"/>
              <a:gd name="connsiteX195" fmla="*/ 3110007 w 5242560"/>
              <a:gd name="connsiteY195" fmla="*/ 6275175 h 6858000"/>
              <a:gd name="connsiteX196" fmla="*/ 2897512 w 5242560"/>
              <a:gd name="connsiteY196" fmla="*/ 6367897 h 6858000"/>
              <a:gd name="connsiteX197" fmla="*/ 2986163 w 5242560"/>
              <a:gd name="connsiteY197" fmla="*/ 6150421 h 6858000"/>
              <a:gd name="connsiteX198" fmla="*/ 3051312 w 5242560"/>
              <a:gd name="connsiteY198" fmla="*/ 6125916 h 6858000"/>
              <a:gd name="connsiteX199" fmla="*/ 2097311 w 5242560"/>
              <a:gd name="connsiteY199" fmla="*/ 6125916 h 6858000"/>
              <a:gd name="connsiteX200" fmla="*/ 2156006 w 5242560"/>
              <a:gd name="connsiteY200" fmla="*/ 6275175 h 6858000"/>
              <a:gd name="connsiteX201" fmla="*/ 1943512 w 5242560"/>
              <a:gd name="connsiteY201" fmla="*/ 6367897 h 6858000"/>
              <a:gd name="connsiteX202" fmla="*/ 2032162 w 5242560"/>
              <a:gd name="connsiteY202" fmla="*/ 6150421 h 6858000"/>
              <a:gd name="connsiteX203" fmla="*/ 2097311 w 5242560"/>
              <a:gd name="connsiteY203" fmla="*/ 6125916 h 6858000"/>
              <a:gd name="connsiteX204" fmla="*/ 1143310 w 5242560"/>
              <a:gd name="connsiteY204" fmla="*/ 6125916 h 6858000"/>
              <a:gd name="connsiteX205" fmla="*/ 1202005 w 5242560"/>
              <a:gd name="connsiteY205" fmla="*/ 6275175 h 6858000"/>
              <a:gd name="connsiteX206" fmla="*/ 989510 w 5242560"/>
              <a:gd name="connsiteY206" fmla="*/ 6367897 h 6858000"/>
              <a:gd name="connsiteX207" fmla="*/ 1078161 w 5242560"/>
              <a:gd name="connsiteY207" fmla="*/ 6150421 h 6858000"/>
              <a:gd name="connsiteX208" fmla="*/ 1143310 w 5242560"/>
              <a:gd name="connsiteY208" fmla="*/ 6125916 h 6858000"/>
              <a:gd name="connsiteX209" fmla="*/ 189309 w 5242560"/>
              <a:gd name="connsiteY209" fmla="*/ 6125916 h 6858000"/>
              <a:gd name="connsiteX210" fmla="*/ 248004 w 5242560"/>
              <a:gd name="connsiteY210" fmla="*/ 6275175 h 6858000"/>
              <a:gd name="connsiteX211" fmla="*/ 35509 w 5242560"/>
              <a:gd name="connsiteY211" fmla="*/ 6367897 h 6858000"/>
              <a:gd name="connsiteX212" fmla="*/ 124160 w 5242560"/>
              <a:gd name="connsiteY212" fmla="*/ 6150421 h 6858000"/>
              <a:gd name="connsiteX213" fmla="*/ 189309 w 5242560"/>
              <a:gd name="connsiteY213" fmla="*/ 6125916 h 6858000"/>
              <a:gd name="connsiteX214" fmla="*/ 4380562 w 5242560"/>
              <a:gd name="connsiteY214" fmla="*/ 6125674 h 6858000"/>
              <a:gd name="connsiteX215" fmla="*/ 4445394 w 5242560"/>
              <a:gd name="connsiteY215" fmla="*/ 6150796 h 6858000"/>
              <a:gd name="connsiteX216" fmla="*/ 4538116 w 5242560"/>
              <a:gd name="connsiteY216" fmla="*/ 6363290 h 6858000"/>
              <a:gd name="connsiteX217" fmla="*/ 4320640 w 5242560"/>
              <a:gd name="connsiteY217" fmla="*/ 6274639 h 6858000"/>
              <a:gd name="connsiteX218" fmla="*/ 4380562 w 5242560"/>
              <a:gd name="connsiteY218" fmla="*/ 6125674 h 6858000"/>
              <a:gd name="connsiteX219" fmla="*/ 3426615 w 5242560"/>
              <a:gd name="connsiteY219" fmla="*/ 6125674 h 6858000"/>
              <a:gd name="connsiteX220" fmla="*/ 3491446 w 5242560"/>
              <a:gd name="connsiteY220" fmla="*/ 6150796 h 6858000"/>
              <a:gd name="connsiteX221" fmla="*/ 3584168 w 5242560"/>
              <a:gd name="connsiteY221" fmla="*/ 6363290 h 6858000"/>
              <a:gd name="connsiteX222" fmla="*/ 3366692 w 5242560"/>
              <a:gd name="connsiteY222" fmla="*/ 6274639 h 6858000"/>
              <a:gd name="connsiteX223" fmla="*/ 3426615 w 5242560"/>
              <a:gd name="connsiteY223" fmla="*/ 6125674 h 6858000"/>
              <a:gd name="connsiteX224" fmla="*/ 2472614 w 5242560"/>
              <a:gd name="connsiteY224" fmla="*/ 6125674 h 6858000"/>
              <a:gd name="connsiteX225" fmla="*/ 2537445 w 5242560"/>
              <a:gd name="connsiteY225" fmla="*/ 6150796 h 6858000"/>
              <a:gd name="connsiteX226" fmla="*/ 2630168 w 5242560"/>
              <a:gd name="connsiteY226" fmla="*/ 6363290 h 6858000"/>
              <a:gd name="connsiteX227" fmla="*/ 2412692 w 5242560"/>
              <a:gd name="connsiteY227" fmla="*/ 6274639 h 6858000"/>
              <a:gd name="connsiteX228" fmla="*/ 2472614 w 5242560"/>
              <a:gd name="connsiteY228" fmla="*/ 6125674 h 6858000"/>
              <a:gd name="connsiteX229" fmla="*/ 1518667 w 5242560"/>
              <a:gd name="connsiteY229" fmla="*/ 6125674 h 6858000"/>
              <a:gd name="connsiteX230" fmla="*/ 1583498 w 5242560"/>
              <a:gd name="connsiteY230" fmla="*/ 6150796 h 6858000"/>
              <a:gd name="connsiteX231" fmla="*/ 1676220 w 5242560"/>
              <a:gd name="connsiteY231" fmla="*/ 6363290 h 6858000"/>
              <a:gd name="connsiteX232" fmla="*/ 1458798 w 5242560"/>
              <a:gd name="connsiteY232" fmla="*/ 6274639 h 6858000"/>
              <a:gd name="connsiteX233" fmla="*/ 1458744 w 5242560"/>
              <a:gd name="connsiteY233" fmla="*/ 6274639 h 6858000"/>
              <a:gd name="connsiteX234" fmla="*/ 1518667 w 5242560"/>
              <a:gd name="connsiteY234" fmla="*/ 6125674 h 6858000"/>
              <a:gd name="connsiteX235" fmla="*/ 564612 w 5242560"/>
              <a:gd name="connsiteY235" fmla="*/ 6125674 h 6858000"/>
              <a:gd name="connsiteX236" fmla="*/ 629443 w 5242560"/>
              <a:gd name="connsiteY236" fmla="*/ 6150796 h 6858000"/>
              <a:gd name="connsiteX237" fmla="*/ 722166 w 5242560"/>
              <a:gd name="connsiteY237" fmla="*/ 6363290 h 6858000"/>
              <a:gd name="connsiteX238" fmla="*/ 504690 w 5242560"/>
              <a:gd name="connsiteY238" fmla="*/ 6274639 h 6858000"/>
              <a:gd name="connsiteX239" fmla="*/ 564612 w 5242560"/>
              <a:gd name="connsiteY239" fmla="*/ 6125674 h 6858000"/>
              <a:gd name="connsiteX240" fmla="*/ 4800585 w 5242560"/>
              <a:gd name="connsiteY240" fmla="*/ 6043420 h 6858000"/>
              <a:gd name="connsiteX241" fmla="*/ 4839796 w 5242560"/>
              <a:gd name="connsiteY241" fmla="*/ 6048380 h 6858000"/>
              <a:gd name="connsiteX242" fmla="*/ 4705079 w 5242560"/>
              <a:gd name="connsiteY242" fmla="*/ 6240733 h 6858000"/>
              <a:gd name="connsiteX243" fmla="*/ 4705079 w 5242560"/>
              <a:gd name="connsiteY243" fmla="*/ 6240679 h 6858000"/>
              <a:gd name="connsiteX244" fmla="*/ 4612036 w 5242560"/>
              <a:gd name="connsiteY244" fmla="*/ 6091553 h 6858000"/>
              <a:gd name="connsiteX245" fmla="*/ 4800585 w 5242560"/>
              <a:gd name="connsiteY245" fmla="*/ 6043420 h 6858000"/>
              <a:gd name="connsiteX246" fmla="*/ 3846638 w 5242560"/>
              <a:gd name="connsiteY246" fmla="*/ 6043420 h 6858000"/>
              <a:gd name="connsiteX247" fmla="*/ 3885849 w 5242560"/>
              <a:gd name="connsiteY247" fmla="*/ 6048380 h 6858000"/>
              <a:gd name="connsiteX248" fmla="*/ 3751132 w 5242560"/>
              <a:gd name="connsiteY248" fmla="*/ 6240733 h 6858000"/>
              <a:gd name="connsiteX249" fmla="*/ 3751132 w 5242560"/>
              <a:gd name="connsiteY249" fmla="*/ 6240679 h 6858000"/>
              <a:gd name="connsiteX250" fmla="*/ 3658089 w 5242560"/>
              <a:gd name="connsiteY250" fmla="*/ 6091553 h 6858000"/>
              <a:gd name="connsiteX251" fmla="*/ 3846638 w 5242560"/>
              <a:gd name="connsiteY251" fmla="*/ 6043420 h 6858000"/>
              <a:gd name="connsiteX252" fmla="*/ 2892637 w 5242560"/>
              <a:gd name="connsiteY252" fmla="*/ 6043420 h 6858000"/>
              <a:gd name="connsiteX253" fmla="*/ 2931848 w 5242560"/>
              <a:gd name="connsiteY253" fmla="*/ 6048380 h 6858000"/>
              <a:gd name="connsiteX254" fmla="*/ 2797130 w 5242560"/>
              <a:gd name="connsiteY254" fmla="*/ 6240733 h 6858000"/>
              <a:gd name="connsiteX255" fmla="*/ 2797130 w 5242560"/>
              <a:gd name="connsiteY255" fmla="*/ 6240679 h 6858000"/>
              <a:gd name="connsiteX256" fmla="*/ 2704088 w 5242560"/>
              <a:gd name="connsiteY256" fmla="*/ 6091553 h 6858000"/>
              <a:gd name="connsiteX257" fmla="*/ 2892637 w 5242560"/>
              <a:gd name="connsiteY257" fmla="*/ 6043420 h 6858000"/>
              <a:gd name="connsiteX258" fmla="*/ 1938743 w 5242560"/>
              <a:gd name="connsiteY258" fmla="*/ 6043420 h 6858000"/>
              <a:gd name="connsiteX259" fmla="*/ 1977954 w 5242560"/>
              <a:gd name="connsiteY259" fmla="*/ 6048380 h 6858000"/>
              <a:gd name="connsiteX260" fmla="*/ 1843237 w 5242560"/>
              <a:gd name="connsiteY260" fmla="*/ 6240733 h 6858000"/>
              <a:gd name="connsiteX261" fmla="*/ 1843237 w 5242560"/>
              <a:gd name="connsiteY261" fmla="*/ 6240679 h 6858000"/>
              <a:gd name="connsiteX262" fmla="*/ 1750193 w 5242560"/>
              <a:gd name="connsiteY262" fmla="*/ 6091553 h 6858000"/>
              <a:gd name="connsiteX263" fmla="*/ 1938743 w 5242560"/>
              <a:gd name="connsiteY263" fmla="*/ 6043420 h 6858000"/>
              <a:gd name="connsiteX264" fmla="*/ 984635 w 5242560"/>
              <a:gd name="connsiteY264" fmla="*/ 6043420 h 6858000"/>
              <a:gd name="connsiteX265" fmla="*/ 1023846 w 5242560"/>
              <a:gd name="connsiteY265" fmla="*/ 6048380 h 6858000"/>
              <a:gd name="connsiteX266" fmla="*/ 889129 w 5242560"/>
              <a:gd name="connsiteY266" fmla="*/ 6240733 h 6858000"/>
              <a:gd name="connsiteX267" fmla="*/ 889129 w 5242560"/>
              <a:gd name="connsiteY267" fmla="*/ 6240679 h 6858000"/>
              <a:gd name="connsiteX268" fmla="*/ 796086 w 5242560"/>
              <a:gd name="connsiteY268" fmla="*/ 6091553 h 6858000"/>
              <a:gd name="connsiteX269" fmla="*/ 984635 w 5242560"/>
              <a:gd name="connsiteY269" fmla="*/ 6043420 h 6858000"/>
              <a:gd name="connsiteX270" fmla="*/ 30688 w 5242560"/>
              <a:gd name="connsiteY270" fmla="*/ 6043420 h 6858000"/>
              <a:gd name="connsiteX271" fmla="*/ 69899 w 5242560"/>
              <a:gd name="connsiteY271" fmla="*/ 6048380 h 6858000"/>
              <a:gd name="connsiteX272" fmla="*/ 14130 w 5242560"/>
              <a:gd name="connsiteY272" fmla="*/ 6170066 h 6858000"/>
              <a:gd name="connsiteX273" fmla="*/ 0 w 5242560"/>
              <a:gd name="connsiteY273" fmla="*/ 6185436 h 6858000"/>
              <a:gd name="connsiteX274" fmla="*/ 0 w 5242560"/>
              <a:gd name="connsiteY274" fmla="*/ 6044062 h 6858000"/>
              <a:gd name="connsiteX275" fmla="*/ 462379 w 5242560"/>
              <a:gd name="connsiteY275" fmla="*/ 5885886 h 6858000"/>
              <a:gd name="connsiteX276" fmla="*/ 519527 w 5242560"/>
              <a:gd name="connsiteY276" fmla="*/ 6047469 h 6858000"/>
              <a:gd name="connsiteX277" fmla="*/ 291767 w 5242560"/>
              <a:gd name="connsiteY277" fmla="*/ 6090696 h 6858000"/>
              <a:gd name="connsiteX278" fmla="*/ 426484 w 5242560"/>
              <a:gd name="connsiteY278" fmla="*/ 5898342 h 6858000"/>
              <a:gd name="connsiteX279" fmla="*/ 462379 w 5242560"/>
              <a:gd name="connsiteY279" fmla="*/ 5885886 h 6858000"/>
              <a:gd name="connsiteX280" fmla="*/ 1416379 w 5242560"/>
              <a:gd name="connsiteY280" fmla="*/ 5885833 h 6858000"/>
              <a:gd name="connsiteX281" fmla="*/ 1473528 w 5242560"/>
              <a:gd name="connsiteY281" fmla="*/ 6047415 h 6858000"/>
              <a:gd name="connsiteX282" fmla="*/ 1245768 w 5242560"/>
              <a:gd name="connsiteY282" fmla="*/ 6090643 h 6858000"/>
              <a:gd name="connsiteX283" fmla="*/ 1380485 w 5242560"/>
              <a:gd name="connsiteY283" fmla="*/ 5898289 h 6858000"/>
              <a:gd name="connsiteX284" fmla="*/ 1416379 w 5242560"/>
              <a:gd name="connsiteY284" fmla="*/ 5885833 h 6858000"/>
              <a:gd name="connsiteX285" fmla="*/ 2370219 w 5242560"/>
              <a:gd name="connsiteY285" fmla="*/ 5885779 h 6858000"/>
              <a:gd name="connsiteX286" fmla="*/ 2427368 w 5242560"/>
              <a:gd name="connsiteY286" fmla="*/ 6047361 h 6858000"/>
              <a:gd name="connsiteX287" fmla="*/ 2199608 w 5242560"/>
              <a:gd name="connsiteY287" fmla="*/ 6090589 h 6858000"/>
              <a:gd name="connsiteX288" fmla="*/ 2334325 w 5242560"/>
              <a:gd name="connsiteY288" fmla="*/ 5898235 h 6858000"/>
              <a:gd name="connsiteX289" fmla="*/ 2370219 w 5242560"/>
              <a:gd name="connsiteY289" fmla="*/ 5885779 h 6858000"/>
              <a:gd name="connsiteX290" fmla="*/ 3324274 w 5242560"/>
              <a:gd name="connsiteY290" fmla="*/ 5885726 h 6858000"/>
              <a:gd name="connsiteX291" fmla="*/ 3381424 w 5242560"/>
              <a:gd name="connsiteY291" fmla="*/ 6047308 h 6858000"/>
              <a:gd name="connsiteX292" fmla="*/ 3153662 w 5242560"/>
              <a:gd name="connsiteY292" fmla="*/ 6090535 h 6858000"/>
              <a:gd name="connsiteX293" fmla="*/ 3288380 w 5242560"/>
              <a:gd name="connsiteY293" fmla="*/ 5898182 h 6858000"/>
              <a:gd name="connsiteX294" fmla="*/ 3324274 w 5242560"/>
              <a:gd name="connsiteY294" fmla="*/ 5885726 h 6858000"/>
              <a:gd name="connsiteX295" fmla="*/ 4278222 w 5242560"/>
              <a:gd name="connsiteY295" fmla="*/ 5885673 h 6858000"/>
              <a:gd name="connsiteX296" fmla="*/ 4335371 w 5242560"/>
              <a:gd name="connsiteY296" fmla="*/ 6047254 h 6858000"/>
              <a:gd name="connsiteX297" fmla="*/ 4107610 w 5242560"/>
              <a:gd name="connsiteY297" fmla="*/ 6090482 h 6858000"/>
              <a:gd name="connsiteX298" fmla="*/ 4242328 w 5242560"/>
              <a:gd name="connsiteY298" fmla="*/ 5898129 h 6858000"/>
              <a:gd name="connsiteX299" fmla="*/ 4278222 w 5242560"/>
              <a:gd name="connsiteY299" fmla="*/ 5885673 h 6858000"/>
              <a:gd name="connsiteX300" fmla="*/ 5232115 w 5242560"/>
              <a:gd name="connsiteY300" fmla="*/ 5885619 h 6858000"/>
              <a:gd name="connsiteX301" fmla="*/ 5242560 w 5242560"/>
              <a:gd name="connsiteY301" fmla="*/ 5886573 h 6858000"/>
              <a:gd name="connsiteX302" fmla="*/ 5242560 w 5242560"/>
              <a:gd name="connsiteY302" fmla="*/ 6069878 h 6858000"/>
              <a:gd name="connsiteX303" fmla="*/ 5220978 w 5242560"/>
              <a:gd name="connsiteY303" fmla="*/ 6080357 h 6858000"/>
              <a:gd name="connsiteX304" fmla="*/ 5061504 w 5242560"/>
              <a:gd name="connsiteY304" fmla="*/ 6090428 h 6858000"/>
              <a:gd name="connsiteX305" fmla="*/ 5196221 w 5242560"/>
              <a:gd name="connsiteY305" fmla="*/ 5898075 h 6858000"/>
              <a:gd name="connsiteX306" fmla="*/ 5232115 w 5242560"/>
              <a:gd name="connsiteY306" fmla="*/ 5885619 h 6858000"/>
              <a:gd name="connsiteX307" fmla="*/ 580056 w 5242560"/>
              <a:gd name="connsiteY307" fmla="*/ 5772463 h 6858000"/>
              <a:gd name="connsiteX308" fmla="*/ 797478 w 5242560"/>
              <a:gd name="connsiteY308" fmla="*/ 5861114 h 6858000"/>
              <a:gd name="connsiteX309" fmla="*/ 797532 w 5242560"/>
              <a:gd name="connsiteY309" fmla="*/ 5861114 h 6858000"/>
              <a:gd name="connsiteX310" fmla="*/ 672778 w 5242560"/>
              <a:gd name="connsiteY310" fmla="*/ 5984958 h 6858000"/>
              <a:gd name="connsiteX311" fmla="*/ 580056 w 5242560"/>
              <a:gd name="connsiteY311" fmla="*/ 5772463 h 6858000"/>
              <a:gd name="connsiteX312" fmla="*/ 1534056 w 5242560"/>
              <a:gd name="connsiteY312" fmla="*/ 5772410 h 6858000"/>
              <a:gd name="connsiteX313" fmla="*/ 1751532 w 5242560"/>
              <a:gd name="connsiteY313" fmla="*/ 5861061 h 6858000"/>
              <a:gd name="connsiteX314" fmla="*/ 1626779 w 5242560"/>
              <a:gd name="connsiteY314" fmla="*/ 5984904 h 6858000"/>
              <a:gd name="connsiteX315" fmla="*/ 1534056 w 5242560"/>
              <a:gd name="connsiteY315" fmla="*/ 5772410 h 6858000"/>
              <a:gd name="connsiteX316" fmla="*/ 2487951 w 5242560"/>
              <a:gd name="connsiteY316" fmla="*/ 5772356 h 6858000"/>
              <a:gd name="connsiteX317" fmla="*/ 2705374 w 5242560"/>
              <a:gd name="connsiteY317" fmla="*/ 5861007 h 6858000"/>
              <a:gd name="connsiteX318" fmla="*/ 2705426 w 5242560"/>
              <a:gd name="connsiteY318" fmla="*/ 5861007 h 6858000"/>
              <a:gd name="connsiteX319" fmla="*/ 2580673 w 5242560"/>
              <a:gd name="connsiteY319" fmla="*/ 5984850 h 6858000"/>
              <a:gd name="connsiteX320" fmla="*/ 2487951 w 5242560"/>
              <a:gd name="connsiteY320" fmla="*/ 5772356 h 6858000"/>
              <a:gd name="connsiteX321" fmla="*/ 3441898 w 5242560"/>
              <a:gd name="connsiteY321" fmla="*/ 5772303 h 6858000"/>
              <a:gd name="connsiteX322" fmla="*/ 3659374 w 5242560"/>
              <a:gd name="connsiteY322" fmla="*/ 5860953 h 6858000"/>
              <a:gd name="connsiteX323" fmla="*/ 3534620 w 5242560"/>
              <a:gd name="connsiteY323" fmla="*/ 5984797 h 6858000"/>
              <a:gd name="connsiteX324" fmla="*/ 3441898 w 5242560"/>
              <a:gd name="connsiteY324" fmla="*/ 5772303 h 6858000"/>
              <a:gd name="connsiteX325" fmla="*/ 4395846 w 5242560"/>
              <a:gd name="connsiteY325" fmla="*/ 5772250 h 6858000"/>
              <a:gd name="connsiteX326" fmla="*/ 4613321 w 5242560"/>
              <a:gd name="connsiteY326" fmla="*/ 5860900 h 6858000"/>
              <a:gd name="connsiteX327" fmla="*/ 4488568 w 5242560"/>
              <a:gd name="connsiteY327" fmla="*/ 5984743 h 6858000"/>
              <a:gd name="connsiteX328" fmla="*/ 4395846 w 5242560"/>
              <a:gd name="connsiteY328" fmla="*/ 5772250 h 6858000"/>
              <a:gd name="connsiteX329" fmla="*/ 312765 w 5242560"/>
              <a:gd name="connsiteY329" fmla="*/ 5767911 h 6858000"/>
              <a:gd name="connsiteX330" fmla="*/ 224114 w 5242560"/>
              <a:gd name="connsiteY330" fmla="*/ 5985332 h 6858000"/>
              <a:gd name="connsiteX331" fmla="*/ 224114 w 5242560"/>
              <a:gd name="connsiteY331" fmla="*/ 5985386 h 6858000"/>
              <a:gd name="connsiteX332" fmla="*/ 100270 w 5242560"/>
              <a:gd name="connsiteY332" fmla="*/ 5860632 h 6858000"/>
              <a:gd name="connsiteX333" fmla="*/ 312765 w 5242560"/>
              <a:gd name="connsiteY333" fmla="*/ 5767911 h 6858000"/>
              <a:gd name="connsiteX334" fmla="*/ 1266712 w 5242560"/>
              <a:gd name="connsiteY334" fmla="*/ 5767857 h 6858000"/>
              <a:gd name="connsiteX335" fmla="*/ 1178061 w 5242560"/>
              <a:gd name="connsiteY335" fmla="*/ 5985279 h 6858000"/>
              <a:gd name="connsiteX336" fmla="*/ 1178061 w 5242560"/>
              <a:gd name="connsiteY336" fmla="*/ 5985332 h 6858000"/>
              <a:gd name="connsiteX337" fmla="*/ 1054218 w 5242560"/>
              <a:gd name="connsiteY337" fmla="*/ 5860579 h 6858000"/>
              <a:gd name="connsiteX338" fmla="*/ 1266712 w 5242560"/>
              <a:gd name="connsiteY338" fmla="*/ 5767857 h 6858000"/>
              <a:gd name="connsiteX339" fmla="*/ 2220606 w 5242560"/>
              <a:gd name="connsiteY339" fmla="*/ 5767804 h 6858000"/>
              <a:gd name="connsiteX340" fmla="*/ 2131954 w 5242560"/>
              <a:gd name="connsiteY340" fmla="*/ 5985226 h 6858000"/>
              <a:gd name="connsiteX341" fmla="*/ 2131954 w 5242560"/>
              <a:gd name="connsiteY341" fmla="*/ 5985279 h 6858000"/>
              <a:gd name="connsiteX342" fmla="*/ 2008111 w 5242560"/>
              <a:gd name="connsiteY342" fmla="*/ 5860525 h 6858000"/>
              <a:gd name="connsiteX343" fmla="*/ 2220606 w 5242560"/>
              <a:gd name="connsiteY343" fmla="*/ 5767804 h 6858000"/>
              <a:gd name="connsiteX344" fmla="*/ 3174553 w 5242560"/>
              <a:gd name="connsiteY344" fmla="*/ 5767750 h 6858000"/>
              <a:gd name="connsiteX345" fmla="*/ 3085902 w 5242560"/>
              <a:gd name="connsiteY345" fmla="*/ 5985172 h 6858000"/>
              <a:gd name="connsiteX346" fmla="*/ 3085902 w 5242560"/>
              <a:gd name="connsiteY346" fmla="*/ 5985226 h 6858000"/>
              <a:gd name="connsiteX347" fmla="*/ 2962058 w 5242560"/>
              <a:gd name="connsiteY347" fmla="*/ 5860472 h 6858000"/>
              <a:gd name="connsiteX348" fmla="*/ 3174553 w 5242560"/>
              <a:gd name="connsiteY348" fmla="*/ 5767750 h 6858000"/>
              <a:gd name="connsiteX349" fmla="*/ 4128500 w 5242560"/>
              <a:gd name="connsiteY349" fmla="*/ 5767696 h 6858000"/>
              <a:gd name="connsiteX350" fmla="*/ 4039850 w 5242560"/>
              <a:gd name="connsiteY350" fmla="*/ 5985119 h 6858000"/>
              <a:gd name="connsiteX351" fmla="*/ 4039850 w 5242560"/>
              <a:gd name="connsiteY351" fmla="*/ 5985172 h 6858000"/>
              <a:gd name="connsiteX352" fmla="*/ 3916006 w 5242560"/>
              <a:gd name="connsiteY352" fmla="*/ 5860418 h 6858000"/>
              <a:gd name="connsiteX353" fmla="*/ 4128500 w 5242560"/>
              <a:gd name="connsiteY353" fmla="*/ 5767696 h 6858000"/>
              <a:gd name="connsiteX354" fmla="*/ 5082502 w 5242560"/>
              <a:gd name="connsiteY354" fmla="*/ 5767643 h 6858000"/>
              <a:gd name="connsiteX355" fmla="*/ 4993850 w 5242560"/>
              <a:gd name="connsiteY355" fmla="*/ 5985065 h 6858000"/>
              <a:gd name="connsiteX356" fmla="*/ 4993850 w 5242560"/>
              <a:gd name="connsiteY356" fmla="*/ 5985119 h 6858000"/>
              <a:gd name="connsiteX357" fmla="*/ 4870007 w 5242560"/>
              <a:gd name="connsiteY357" fmla="*/ 5860364 h 6858000"/>
              <a:gd name="connsiteX358" fmla="*/ 5082502 w 5242560"/>
              <a:gd name="connsiteY358" fmla="*/ 5767643 h 6858000"/>
              <a:gd name="connsiteX359" fmla="*/ 792391 w 5242560"/>
              <a:gd name="connsiteY359" fmla="*/ 5525784 h 6858000"/>
              <a:gd name="connsiteX360" fmla="*/ 850026 w 5242560"/>
              <a:gd name="connsiteY360" fmla="*/ 5564683 h 6858000"/>
              <a:gd name="connsiteX361" fmla="*/ 893254 w 5242560"/>
              <a:gd name="connsiteY361" fmla="*/ 5792443 h 6858000"/>
              <a:gd name="connsiteX362" fmla="*/ 700900 w 5242560"/>
              <a:gd name="connsiteY362" fmla="*/ 5657726 h 6858000"/>
              <a:gd name="connsiteX363" fmla="*/ 792391 w 5242560"/>
              <a:gd name="connsiteY363" fmla="*/ 5525784 h 6858000"/>
              <a:gd name="connsiteX364" fmla="*/ 1746392 w 5242560"/>
              <a:gd name="connsiteY364" fmla="*/ 5525731 h 6858000"/>
              <a:gd name="connsiteX365" fmla="*/ 1804027 w 5242560"/>
              <a:gd name="connsiteY365" fmla="*/ 5564630 h 6858000"/>
              <a:gd name="connsiteX366" fmla="*/ 1847201 w 5242560"/>
              <a:gd name="connsiteY366" fmla="*/ 5792390 h 6858000"/>
              <a:gd name="connsiteX367" fmla="*/ 1654847 w 5242560"/>
              <a:gd name="connsiteY367" fmla="*/ 5657673 h 6858000"/>
              <a:gd name="connsiteX368" fmla="*/ 1654900 w 5242560"/>
              <a:gd name="connsiteY368" fmla="*/ 5657673 h 6858000"/>
              <a:gd name="connsiteX369" fmla="*/ 1746392 w 5242560"/>
              <a:gd name="connsiteY369" fmla="*/ 5525731 h 6858000"/>
              <a:gd name="connsiteX370" fmla="*/ 2700232 w 5242560"/>
              <a:gd name="connsiteY370" fmla="*/ 5525678 h 6858000"/>
              <a:gd name="connsiteX371" fmla="*/ 2757867 w 5242560"/>
              <a:gd name="connsiteY371" fmla="*/ 5564577 h 6858000"/>
              <a:gd name="connsiteX372" fmla="*/ 2801041 w 5242560"/>
              <a:gd name="connsiteY372" fmla="*/ 5792336 h 6858000"/>
              <a:gd name="connsiteX373" fmla="*/ 2608688 w 5242560"/>
              <a:gd name="connsiteY373" fmla="*/ 5657619 h 6858000"/>
              <a:gd name="connsiteX374" fmla="*/ 2608742 w 5242560"/>
              <a:gd name="connsiteY374" fmla="*/ 5657619 h 6858000"/>
              <a:gd name="connsiteX375" fmla="*/ 2700232 w 5242560"/>
              <a:gd name="connsiteY375" fmla="*/ 5525678 h 6858000"/>
              <a:gd name="connsiteX376" fmla="*/ 3654287 w 5242560"/>
              <a:gd name="connsiteY376" fmla="*/ 5525624 h 6858000"/>
              <a:gd name="connsiteX377" fmla="*/ 3711922 w 5242560"/>
              <a:gd name="connsiteY377" fmla="*/ 5564523 h 6858000"/>
              <a:gd name="connsiteX378" fmla="*/ 3755096 w 5242560"/>
              <a:gd name="connsiteY378" fmla="*/ 5792283 h 6858000"/>
              <a:gd name="connsiteX379" fmla="*/ 3562742 w 5242560"/>
              <a:gd name="connsiteY379" fmla="*/ 5657565 h 6858000"/>
              <a:gd name="connsiteX380" fmla="*/ 3562796 w 5242560"/>
              <a:gd name="connsiteY380" fmla="*/ 5657565 h 6858000"/>
              <a:gd name="connsiteX381" fmla="*/ 3654287 w 5242560"/>
              <a:gd name="connsiteY381" fmla="*/ 5525624 h 6858000"/>
              <a:gd name="connsiteX382" fmla="*/ 4608234 w 5242560"/>
              <a:gd name="connsiteY382" fmla="*/ 5525570 h 6858000"/>
              <a:gd name="connsiteX383" fmla="*/ 4665869 w 5242560"/>
              <a:gd name="connsiteY383" fmla="*/ 5564469 h 6858000"/>
              <a:gd name="connsiteX384" fmla="*/ 4709096 w 5242560"/>
              <a:gd name="connsiteY384" fmla="*/ 5792229 h 6858000"/>
              <a:gd name="connsiteX385" fmla="*/ 4516744 w 5242560"/>
              <a:gd name="connsiteY385" fmla="*/ 5657512 h 6858000"/>
              <a:gd name="connsiteX386" fmla="*/ 4608234 w 5242560"/>
              <a:gd name="connsiteY386" fmla="*/ 5525570 h 6858000"/>
              <a:gd name="connsiteX387" fmla="*/ 0 w 5242560"/>
              <a:gd name="connsiteY387" fmla="*/ 5472783 h 6858000"/>
              <a:gd name="connsiteX388" fmla="*/ 58725 w 5242560"/>
              <a:gd name="connsiteY388" fmla="*/ 5493477 h 6858000"/>
              <a:gd name="connsiteX389" fmla="*/ 183029 w 5242560"/>
              <a:gd name="connsiteY389" fmla="*/ 5604215 h 6858000"/>
              <a:gd name="connsiteX390" fmla="*/ 182975 w 5242560"/>
              <a:gd name="connsiteY390" fmla="*/ 5604215 h 6858000"/>
              <a:gd name="connsiteX391" fmla="*/ 33849 w 5242560"/>
              <a:gd name="connsiteY391" fmla="*/ 5697258 h 6858000"/>
              <a:gd name="connsiteX392" fmla="*/ 701 w 5242560"/>
              <a:gd name="connsiteY392" fmla="*/ 5628971 h 6858000"/>
              <a:gd name="connsiteX393" fmla="*/ 0 w 5242560"/>
              <a:gd name="connsiteY393" fmla="*/ 5625682 h 6858000"/>
              <a:gd name="connsiteX394" fmla="*/ 944676 w 5242560"/>
              <a:gd name="connsiteY394" fmla="*/ 5469444 h 6858000"/>
              <a:gd name="connsiteX395" fmla="*/ 1137030 w 5242560"/>
              <a:gd name="connsiteY395" fmla="*/ 5604161 h 6858000"/>
              <a:gd name="connsiteX396" fmla="*/ 987904 w 5242560"/>
              <a:gd name="connsiteY396" fmla="*/ 5697205 h 6858000"/>
              <a:gd name="connsiteX397" fmla="*/ 944676 w 5242560"/>
              <a:gd name="connsiteY397" fmla="*/ 5469444 h 6858000"/>
              <a:gd name="connsiteX398" fmla="*/ 1898517 w 5242560"/>
              <a:gd name="connsiteY398" fmla="*/ 5469390 h 6858000"/>
              <a:gd name="connsiteX399" fmla="*/ 2090870 w 5242560"/>
              <a:gd name="connsiteY399" fmla="*/ 5604107 h 6858000"/>
              <a:gd name="connsiteX400" fmla="*/ 1941744 w 5242560"/>
              <a:gd name="connsiteY400" fmla="*/ 5697151 h 6858000"/>
              <a:gd name="connsiteX401" fmla="*/ 1898517 w 5242560"/>
              <a:gd name="connsiteY401" fmla="*/ 5469390 h 6858000"/>
              <a:gd name="connsiteX402" fmla="*/ 2852570 w 5242560"/>
              <a:gd name="connsiteY402" fmla="*/ 5469336 h 6858000"/>
              <a:gd name="connsiteX403" fmla="*/ 3044924 w 5242560"/>
              <a:gd name="connsiteY403" fmla="*/ 5604054 h 6858000"/>
              <a:gd name="connsiteX404" fmla="*/ 3044871 w 5242560"/>
              <a:gd name="connsiteY404" fmla="*/ 5604054 h 6858000"/>
              <a:gd name="connsiteX405" fmla="*/ 2895744 w 5242560"/>
              <a:gd name="connsiteY405" fmla="*/ 5697097 h 6858000"/>
              <a:gd name="connsiteX406" fmla="*/ 2852570 w 5242560"/>
              <a:gd name="connsiteY406" fmla="*/ 5469336 h 6858000"/>
              <a:gd name="connsiteX407" fmla="*/ 3806519 w 5242560"/>
              <a:gd name="connsiteY407" fmla="*/ 5469283 h 6858000"/>
              <a:gd name="connsiteX408" fmla="*/ 3998872 w 5242560"/>
              <a:gd name="connsiteY408" fmla="*/ 5604000 h 6858000"/>
              <a:gd name="connsiteX409" fmla="*/ 3998818 w 5242560"/>
              <a:gd name="connsiteY409" fmla="*/ 5604000 h 6858000"/>
              <a:gd name="connsiteX410" fmla="*/ 3849692 w 5242560"/>
              <a:gd name="connsiteY410" fmla="*/ 5697044 h 6858000"/>
              <a:gd name="connsiteX411" fmla="*/ 3806519 w 5242560"/>
              <a:gd name="connsiteY411" fmla="*/ 5469283 h 6858000"/>
              <a:gd name="connsiteX412" fmla="*/ 4760412 w 5242560"/>
              <a:gd name="connsiteY412" fmla="*/ 5469229 h 6858000"/>
              <a:gd name="connsiteX413" fmla="*/ 4952766 w 5242560"/>
              <a:gd name="connsiteY413" fmla="*/ 5603946 h 6858000"/>
              <a:gd name="connsiteX414" fmla="*/ 4952713 w 5242560"/>
              <a:gd name="connsiteY414" fmla="*/ 5603946 h 6858000"/>
              <a:gd name="connsiteX415" fmla="*/ 4803586 w 5242560"/>
              <a:gd name="connsiteY415" fmla="*/ 5696990 h 6858000"/>
              <a:gd name="connsiteX416" fmla="*/ 4760412 w 5242560"/>
              <a:gd name="connsiteY416" fmla="*/ 5469229 h 6858000"/>
              <a:gd name="connsiteX417" fmla="*/ 738355 w 5242560"/>
              <a:gd name="connsiteY417" fmla="*/ 5253656 h 6858000"/>
              <a:gd name="connsiteX418" fmla="*/ 797050 w 5242560"/>
              <a:gd name="connsiteY418" fmla="*/ 5402915 h 6858000"/>
              <a:gd name="connsiteX419" fmla="*/ 584555 w 5242560"/>
              <a:gd name="connsiteY419" fmla="*/ 5495638 h 6858000"/>
              <a:gd name="connsiteX420" fmla="*/ 673206 w 5242560"/>
              <a:gd name="connsiteY420" fmla="*/ 5278162 h 6858000"/>
              <a:gd name="connsiteX421" fmla="*/ 738355 w 5242560"/>
              <a:gd name="connsiteY421" fmla="*/ 5253656 h 6858000"/>
              <a:gd name="connsiteX422" fmla="*/ 1692250 w 5242560"/>
              <a:gd name="connsiteY422" fmla="*/ 5253602 h 6858000"/>
              <a:gd name="connsiteX423" fmla="*/ 1750943 w 5242560"/>
              <a:gd name="connsiteY423" fmla="*/ 5402861 h 6858000"/>
              <a:gd name="connsiteX424" fmla="*/ 1538450 w 5242560"/>
              <a:gd name="connsiteY424" fmla="*/ 5495584 h 6858000"/>
              <a:gd name="connsiteX425" fmla="*/ 1627100 w 5242560"/>
              <a:gd name="connsiteY425" fmla="*/ 5278108 h 6858000"/>
              <a:gd name="connsiteX426" fmla="*/ 1692250 w 5242560"/>
              <a:gd name="connsiteY426" fmla="*/ 5253602 h 6858000"/>
              <a:gd name="connsiteX427" fmla="*/ 2646197 w 5242560"/>
              <a:gd name="connsiteY427" fmla="*/ 5253549 h 6858000"/>
              <a:gd name="connsiteX428" fmla="*/ 2704891 w 5242560"/>
              <a:gd name="connsiteY428" fmla="*/ 5402808 h 6858000"/>
              <a:gd name="connsiteX429" fmla="*/ 2492397 w 5242560"/>
              <a:gd name="connsiteY429" fmla="*/ 5495530 h 6858000"/>
              <a:gd name="connsiteX430" fmla="*/ 2581047 w 5242560"/>
              <a:gd name="connsiteY430" fmla="*/ 5278054 h 6858000"/>
              <a:gd name="connsiteX431" fmla="*/ 2646197 w 5242560"/>
              <a:gd name="connsiteY431" fmla="*/ 5253549 h 6858000"/>
              <a:gd name="connsiteX432" fmla="*/ 3600037 w 5242560"/>
              <a:gd name="connsiteY432" fmla="*/ 5253495 h 6858000"/>
              <a:gd name="connsiteX433" fmla="*/ 3658732 w 5242560"/>
              <a:gd name="connsiteY433" fmla="*/ 5402754 h 6858000"/>
              <a:gd name="connsiteX434" fmla="*/ 3446238 w 5242560"/>
              <a:gd name="connsiteY434" fmla="*/ 5495477 h 6858000"/>
              <a:gd name="connsiteX435" fmla="*/ 3534888 w 5242560"/>
              <a:gd name="connsiteY435" fmla="*/ 5278001 h 6858000"/>
              <a:gd name="connsiteX436" fmla="*/ 3600037 w 5242560"/>
              <a:gd name="connsiteY436" fmla="*/ 5253495 h 6858000"/>
              <a:gd name="connsiteX437" fmla="*/ 4554092 w 5242560"/>
              <a:gd name="connsiteY437" fmla="*/ 5253442 h 6858000"/>
              <a:gd name="connsiteX438" fmla="*/ 4612786 w 5242560"/>
              <a:gd name="connsiteY438" fmla="*/ 5402701 h 6858000"/>
              <a:gd name="connsiteX439" fmla="*/ 4400292 w 5242560"/>
              <a:gd name="connsiteY439" fmla="*/ 5495423 h 6858000"/>
              <a:gd name="connsiteX440" fmla="*/ 4488942 w 5242560"/>
              <a:gd name="connsiteY440" fmla="*/ 5277947 h 6858000"/>
              <a:gd name="connsiteX441" fmla="*/ 4554092 w 5242560"/>
              <a:gd name="connsiteY441" fmla="*/ 5253442 h 6858000"/>
              <a:gd name="connsiteX442" fmla="*/ 159657 w 5242560"/>
              <a:gd name="connsiteY442" fmla="*/ 5253414 h 6858000"/>
              <a:gd name="connsiteX443" fmla="*/ 224488 w 5242560"/>
              <a:gd name="connsiteY443" fmla="*/ 5278536 h 6858000"/>
              <a:gd name="connsiteX444" fmla="*/ 317211 w 5242560"/>
              <a:gd name="connsiteY444" fmla="*/ 5491031 h 6858000"/>
              <a:gd name="connsiteX445" fmla="*/ 99735 w 5242560"/>
              <a:gd name="connsiteY445" fmla="*/ 5402380 h 6858000"/>
              <a:gd name="connsiteX446" fmla="*/ 159657 w 5242560"/>
              <a:gd name="connsiteY446" fmla="*/ 5253414 h 6858000"/>
              <a:gd name="connsiteX447" fmla="*/ 1113604 w 5242560"/>
              <a:gd name="connsiteY447" fmla="*/ 5253361 h 6858000"/>
              <a:gd name="connsiteX448" fmla="*/ 1178436 w 5242560"/>
              <a:gd name="connsiteY448" fmla="*/ 5278482 h 6858000"/>
              <a:gd name="connsiteX449" fmla="*/ 1271158 w 5242560"/>
              <a:gd name="connsiteY449" fmla="*/ 5490977 h 6858000"/>
              <a:gd name="connsiteX450" fmla="*/ 1053682 w 5242560"/>
              <a:gd name="connsiteY450" fmla="*/ 5402326 h 6858000"/>
              <a:gd name="connsiteX451" fmla="*/ 1113604 w 5242560"/>
              <a:gd name="connsiteY451" fmla="*/ 5253361 h 6858000"/>
              <a:gd name="connsiteX452" fmla="*/ 2067498 w 5242560"/>
              <a:gd name="connsiteY452" fmla="*/ 5253307 h 6858000"/>
              <a:gd name="connsiteX453" fmla="*/ 2132330 w 5242560"/>
              <a:gd name="connsiteY453" fmla="*/ 5278429 h 6858000"/>
              <a:gd name="connsiteX454" fmla="*/ 2225052 w 5242560"/>
              <a:gd name="connsiteY454" fmla="*/ 5490923 h 6858000"/>
              <a:gd name="connsiteX455" fmla="*/ 2007576 w 5242560"/>
              <a:gd name="connsiteY455" fmla="*/ 5402272 h 6858000"/>
              <a:gd name="connsiteX456" fmla="*/ 2067498 w 5242560"/>
              <a:gd name="connsiteY456" fmla="*/ 5253307 h 6858000"/>
              <a:gd name="connsiteX457" fmla="*/ 3021392 w 5242560"/>
              <a:gd name="connsiteY457" fmla="*/ 5253253 h 6858000"/>
              <a:gd name="connsiteX458" fmla="*/ 3086224 w 5242560"/>
              <a:gd name="connsiteY458" fmla="*/ 5278375 h 6858000"/>
              <a:gd name="connsiteX459" fmla="*/ 3178946 w 5242560"/>
              <a:gd name="connsiteY459" fmla="*/ 5490870 h 6858000"/>
              <a:gd name="connsiteX460" fmla="*/ 2961523 w 5242560"/>
              <a:gd name="connsiteY460" fmla="*/ 5402219 h 6858000"/>
              <a:gd name="connsiteX461" fmla="*/ 2961470 w 5242560"/>
              <a:gd name="connsiteY461" fmla="*/ 5402219 h 6858000"/>
              <a:gd name="connsiteX462" fmla="*/ 3021392 w 5242560"/>
              <a:gd name="connsiteY462" fmla="*/ 5253253 h 6858000"/>
              <a:gd name="connsiteX463" fmla="*/ 3975393 w 5242560"/>
              <a:gd name="connsiteY463" fmla="*/ 5253200 h 6858000"/>
              <a:gd name="connsiteX464" fmla="*/ 4040225 w 5242560"/>
              <a:gd name="connsiteY464" fmla="*/ 5278323 h 6858000"/>
              <a:gd name="connsiteX465" fmla="*/ 4132946 w 5242560"/>
              <a:gd name="connsiteY465" fmla="*/ 5490816 h 6858000"/>
              <a:gd name="connsiteX466" fmla="*/ 3915470 w 5242560"/>
              <a:gd name="connsiteY466" fmla="*/ 5402165 h 6858000"/>
              <a:gd name="connsiteX467" fmla="*/ 3975393 w 5242560"/>
              <a:gd name="connsiteY467" fmla="*/ 5253200 h 6858000"/>
              <a:gd name="connsiteX468" fmla="*/ 4929394 w 5242560"/>
              <a:gd name="connsiteY468" fmla="*/ 5253146 h 6858000"/>
              <a:gd name="connsiteX469" fmla="*/ 4994226 w 5242560"/>
              <a:gd name="connsiteY469" fmla="*/ 5278269 h 6858000"/>
              <a:gd name="connsiteX470" fmla="*/ 5086948 w 5242560"/>
              <a:gd name="connsiteY470" fmla="*/ 5490762 h 6858000"/>
              <a:gd name="connsiteX471" fmla="*/ 4869472 w 5242560"/>
              <a:gd name="connsiteY471" fmla="*/ 5402111 h 6858000"/>
              <a:gd name="connsiteX472" fmla="*/ 4929394 w 5242560"/>
              <a:gd name="connsiteY472" fmla="*/ 5253146 h 6858000"/>
              <a:gd name="connsiteX473" fmla="*/ 5242560 w 5242560"/>
              <a:gd name="connsiteY473" fmla="*/ 5182985 h 6858000"/>
              <a:gd name="connsiteX474" fmla="*/ 5242560 w 5242560"/>
              <a:gd name="connsiteY474" fmla="*/ 5372090 h 6858000"/>
              <a:gd name="connsiteX475" fmla="*/ 5218017 w 5242560"/>
              <a:gd name="connsiteY475" fmla="*/ 5380607 h 6858000"/>
              <a:gd name="connsiteX476" fmla="*/ 5160868 w 5242560"/>
              <a:gd name="connsiteY476" fmla="*/ 5219025 h 6858000"/>
              <a:gd name="connsiteX477" fmla="*/ 5229154 w 5242560"/>
              <a:gd name="connsiteY477" fmla="*/ 5185846 h 6858000"/>
              <a:gd name="connsiteX478" fmla="*/ 579658 w 5242560"/>
              <a:gd name="connsiteY478" fmla="*/ 5171099 h 6858000"/>
              <a:gd name="connsiteX479" fmla="*/ 618891 w 5242560"/>
              <a:gd name="connsiteY479" fmla="*/ 5176065 h 6858000"/>
              <a:gd name="connsiteX480" fmla="*/ 484174 w 5242560"/>
              <a:gd name="connsiteY480" fmla="*/ 5368419 h 6858000"/>
              <a:gd name="connsiteX481" fmla="*/ 391131 w 5242560"/>
              <a:gd name="connsiteY481" fmla="*/ 5219293 h 6858000"/>
              <a:gd name="connsiteX482" fmla="*/ 579658 w 5242560"/>
              <a:gd name="connsiteY482" fmla="*/ 5171099 h 6858000"/>
              <a:gd name="connsiteX483" fmla="*/ 1533627 w 5242560"/>
              <a:gd name="connsiteY483" fmla="*/ 5171045 h 6858000"/>
              <a:gd name="connsiteX484" fmla="*/ 1572838 w 5242560"/>
              <a:gd name="connsiteY484" fmla="*/ 5176012 h 6858000"/>
              <a:gd name="connsiteX485" fmla="*/ 1438121 w 5242560"/>
              <a:gd name="connsiteY485" fmla="*/ 5368366 h 6858000"/>
              <a:gd name="connsiteX486" fmla="*/ 1345078 w 5242560"/>
              <a:gd name="connsiteY486" fmla="*/ 5219239 h 6858000"/>
              <a:gd name="connsiteX487" fmla="*/ 1533627 w 5242560"/>
              <a:gd name="connsiteY487" fmla="*/ 5171045 h 6858000"/>
              <a:gd name="connsiteX488" fmla="*/ 2487521 w 5242560"/>
              <a:gd name="connsiteY488" fmla="*/ 5170992 h 6858000"/>
              <a:gd name="connsiteX489" fmla="*/ 2526732 w 5242560"/>
              <a:gd name="connsiteY489" fmla="*/ 5175958 h 6858000"/>
              <a:gd name="connsiteX490" fmla="*/ 2392016 w 5242560"/>
              <a:gd name="connsiteY490" fmla="*/ 5368312 h 6858000"/>
              <a:gd name="connsiteX491" fmla="*/ 2298972 w 5242560"/>
              <a:gd name="connsiteY491" fmla="*/ 5219186 h 6858000"/>
              <a:gd name="connsiteX492" fmla="*/ 2487521 w 5242560"/>
              <a:gd name="connsiteY492" fmla="*/ 5170992 h 6858000"/>
              <a:gd name="connsiteX493" fmla="*/ 3441469 w 5242560"/>
              <a:gd name="connsiteY493" fmla="*/ 5170938 h 6858000"/>
              <a:gd name="connsiteX494" fmla="*/ 3480680 w 5242560"/>
              <a:gd name="connsiteY494" fmla="*/ 5175904 h 6858000"/>
              <a:gd name="connsiteX495" fmla="*/ 3345962 w 5242560"/>
              <a:gd name="connsiteY495" fmla="*/ 5368258 h 6858000"/>
              <a:gd name="connsiteX496" fmla="*/ 3252920 w 5242560"/>
              <a:gd name="connsiteY496" fmla="*/ 5219132 h 6858000"/>
              <a:gd name="connsiteX497" fmla="*/ 3441469 w 5242560"/>
              <a:gd name="connsiteY497" fmla="*/ 5170938 h 6858000"/>
              <a:gd name="connsiteX498" fmla="*/ 4395417 w 5242560"/>
              <a:gd name="connsiteY498" fmla="*/ 5170885 h 6858000"/>
              <a:gd name="connsiteX499" fmla="*/ 4434628 w 5242560"/>
              <a:gd name="connsiteY499" fmla="*/ 5175852 h 6858000"/>
              <a:gd name="connsiteX500" fmla="*/ 4299910 w 5242560"/>
              <a:gd name="connsiteY500" fmla="*/ 5368205 h 6858000"/>
              <a:gd name="connsiteX501" fmla="*/ 4206867 w 5242560"/>
              <a:gd name="connsiteY501" fmla="*/ 5219078 h 6858000"/>
              <a:gd name="connsiteX502" fmla="*/ 4395417 w 5242560"/>
              <a:gd name="connsiteY502" fmla="*/ 5170885 h 6858000"/>
              <a:gd name="connsiteX503" fmla="*/ 4847569 w 5242560"/>
              <a:gd name="connsiteY503" fmla="*/ 5017804 h 6858000"/>
              <a:gd name="connsiteX504" fmla="*/ 4904718 w 5242560"/>
              <a:gd name="connsiteY504" fmla="*/ 5179387 h 6858000"/>
              <a:gd name="connsiteX505" fmla="*/ 4676958 w 5242560"/>
              <a:gd name="connsiteY505" fmla="*/ 5222614 h 6858000"/>
              <a:gd name="connsiteX506" fmla="*/ 4811675 w 5242560"/>
              <a:gd name="connsiteY506" fmla="*/ 5030260 h 6858000"/>
              <a:gd name="connsiteX507" fmla="*/ 4847569 w 5242560"/>
              <a:gd name="connsiteY507" fmla="*/ 5017804 h 6858000"/>
              <a:gd name="connsiteX508" fmla="*/ 3893729 w 5242560"/>
              <a:gd name="connsiteY508" fmla="*/ 5017697 h 6858000"/>
              <a:gd name="connsiteX509" fmla="*/ 3950878 w 5242560"/>
              <a:gd name="connsiteY509" fmla="*/ 5179279 h 6858000"/>
              <a:gd name="connsiteX510" fmla="*/ 3723118 w 5242560"/>
              <a:gd name="connsiteY510" fmla="*/ 5222507 h 6858000"/>
              <a:gd name="connsiteX511" fmla="*/ 3857835 w 5242560"/>
              <a:gd name="connsiteY511" fmla="*/ 5030153 h 6858000"/>
              <a:gd name="connsiteX512" fmla="*/ 3893729 w 5242560"/>
              <a:gd name="connsiteY512" fmla="*/ 5017697 h 6858000"/>
              <a:gd name="connsiteX513" fmla="*/ 2939781 w 5242560"/>
              <a:gd name="connsiteY513" fmla="*/ 5017590 h 6858000"/>
              <a:gd name="connsiteX514" fmla="*/ 2996930 w 5242560"/>
              <a:gd name="connsiteY514" fmla="*/ 5179173 h 6858000"/>
              <a:gd name="connsiteX515" fmla="*/ 2769169 w 5242560"/>
              <a:gd name="connsiteY515" fmla="*/ 5222400 h 6858000"/>
              <a:gd name="connsiteX516" fmla="*/ 2903886 w 5242560"/>
              <a:gd name="connsiteY516" fmla="*/ 5030046 h 6858000"/>
              <a:gd name="connsiteX517" fmla="*/ 2939781 w 5242560"/>
              <a:gd name="connsiteY517" fmla="*/ 5017590 h 6858000"/>
              <a:gd name="connsiteX518" fmla="*/ 1985834 w 5242560"/>
              <a:gd name="connsiteY518" fmla="*/ 5017483 h 6858000"/>
              <a:gd name="connsiteX519" fmla="*/ 2042982 w 5242560"/>
              <a:gd name="connsiteY519" fmla="*/ 5179066 h 6858000"/>
              <a:gd name="connsiteX520" fmla="*/ 1815223 w 5242560"/>
              <a:gd name="connsiteY520" fmla="*/ 5222292 h 6858000"/>
              <a:gd name="connsiteX521" fmla="*/ 1949939 w 5242560"/>
              <a:gd name="connsiteY521" fmla="*/ 5029938 h 6858000"/>
              <a:gd name="connsiteX522" fmla="*/ 1985834 w 5242560"/>
              <a:gd name="connsiteY522" fmla="*/ 5017483 h 6858000"/>
              <a:gd name="connsiteX523" fmla="*/ 1031886 w 5242560"/>
              <a:gd name="connsiteY523" fmla="*/ 5017376 h 6858000"/>
              <a:gd name="connsiteX524" fmla="*/ 1089035 w 5242560"/>
              <a:gd name="connsiteY524" fmla="*/ 5178958 h 6858000"/>
              <a:gd name="connsiteX525" fmla="*/ 861274 w 5242560"/>
              <a:gd name="connsiteY525" fmla="*/ 5222185 h 6858000"/>
              <a:gd name="connsiteX526" fmla="*/ 995992 w 5242560"/>
              <a:gd name="connsiteY526" fmla="*/ 5029832 h 6858000"/>
              <a:gd name="connsiteX527" fmla="*/ 1031886 w 5242560"/>
              <a:gd name="connsiteY527" fmla="*/ 5017376 h 6858000"/>
              <a:gd name="connsiteX528" fmla="*/ 77992 w 5242560"/>
              <a:gd name="connsiteY528" fmla="*/ 5017269 h 6858000"/>
              <a:gd name="connsiteX529" fmla="*/ 135142 w 5242560"/>
              <a:gd name="connsiteY529" fmla="*/ 5178851 h 6858000"/>
              <a:gd name="connsiteX530" fmla="*/ 1877 w 5242560"/>
              <a:gd name="connsiteY530" fmla="*/ 5225895 h 6858000"/>
              <a:gd name="connsiteX531" fmla="*/ 0 w 5242560"/>
              <a:gd name="connsiteY531" fmla="*/ 5225934 h 6858000"/>
              <a:gd name="connsiteX532" fmla="*/ 0 w 5242560"/>
              <a:gd name="connsiteY532" fmla="*/ 5060306 h 6858000"/>
              <a:gd name="connsiteX533" fmla="*/ 733 w 5242560"/>
              <a:gd name="connsiteY533" fmla="*/ 5059509 h 6858000"/>
              <a:gd name="connsiteX534" fmla="*/ 42098 w 5242560"/>
              <a:gd name="connsiteY534" fmla="*/ 5029725 h 6858000"/>
              <a:gd name="connsiteX535" fmla="*/ 77992 w 5242560"/>
              <a:gd name="connsiteY535" fmla="*/ 5017269 h 6858000"/>
              <a:gd name="connsiteX536" fmla="*/ 4965301 w 5242560"/>
              <a:gd name="connsiteY536" fmla="*/ 4904382 h 6858000"/>
              <a:gd name="connsiteX537" fmla="*/ 5182722 w 5242560"/>
              <a:gd name="connsiteY537" fmla="*/ 4993032 h 6858000"/>
              <a:gd name="connsiteX538" fmla="*/ 5182776 w 5242560"/>
              <a:gd name="connsiteY538" fmla="*/ 4993032 h 6858000"/>
              <a:gd name="connsiteX539" fmla="*/ 5058022 w 5242560"/>
              <a:gd name="connsiteY539" fmla="*/ 5116876 h 6858000"/>
              <a:gd name="connsiteX540" fmla="*/ 4965301 w 5242560"/>
              <a:gd name="connsiteY540" fmla="*/ 4904382 h 6858000"/>
              <a:gd name="connsiteX541" fmla="*/ 4011352 w 5242560"/>
              <a:gd name="connsiteY541" fmla="*/ 4904275 h 6858000"/>
              <a:gd name="connsiteX542" fmla="*/ 4228828 w 5242560"/>
              <a:gd name="connsiteY542" fmla="*/ 4992925 h 6858000"/>
              <a:gd name="connsiteX543" fmla="*/ 4104075 w 5242560"/>
              <a:gd name="connsiteY543" fmla="*/ 5116768 h 6858000"/>
              <a:gd name="connsiteX544" fmla="*/ 4011352 w 5242560"/>
              <a:gd name="connsiteY544" fmla="*/ 4904275 h 6858000"/>
              <a:gd name="connsiteX545" fmla="*/ 3057459 w 5242560"/>
              <a:gd name="connsiteY545" fmla="*/ 4904168 h 6858000"/>
              <a:gd name="connsiteX546" fmla="*/ 3274881 w 5242560"/>
              <a:gd name="connsiteY546" fmla="*/ 4992818 h 6858000"/>
              <a:gd name="connsiteX547" fmla="*/ 3274935 w 5242560"/>
              <a:gd name="connsiteY547" fmla="*/ 4992818 h 6858000"/>
              <a:gd name="connsiteX548" fmla="*/ 3150180 w 5242560"/>
              <a:gd name="connsiteY548" fmla="*/ 5116661 h 6858000"/>
              <a:gd name="connsiteX549" fmla="*/ 3057459 w 5242560"/>
              <a:gd name="connsiteY549" fmla="*/ 4904168 h 6858000"/>
              <a:gd name="connsiteX550" fmla="*/ 2103458 w 5242560"/>
              <a:gd name="connsiteY550" fmla="*/ 4904060 h 6858000"/>
              <a:gd name="connsiteX551" fmla="*/ 2320934 w 5242560"/>
              <a:gd name="connsiteY551" fmla="*/ 4992711 h 6858000"/>
              <a:gd name="connsiteX552" fmla="*/ 2196180 w 5242560"/>
              <a:gd name="connsiteY552" fmla="*/ 5116555 h 6858000"/>
              <a:gd name="connsiteX553" fmla="*/ 2103458 w 5242560"/>
              <a:gd name="connsiteY553" fmla="*/ 4904060 h 6858000"/>
              <a:gd name="connsiteX554" fmla="*/ 1149564 w 5242560"/>
              <a:gd name="connsiteY554" fmla="*/ 4903953 h 6858000"/>
              <a:gd name="connsiteX555" fmla="*/ 1367040 w 5242560"/>
              <a:gd name="connsiteY555" fmla="*/ 4992604 h 6858000"/>
              <a:gd name="connsiteX556" fmla="*/ 1242286 w 5242560"/>
              <a:gd name="connsiteY556" fmla="*/ 5116447 h 6858000"/>
              <a:gd name="connsiteX557" fmla="*/ 1149564 w 5242560"/>
              <a:gd name="connsiteY557" fmla="*/ 4903953 h 6858000"/>
              <a:gd name="connsiteX558" fmla="*/ 195670 w 5242560"/>
              <a:gd name="connsiteY558" fmla="*/ 4903846 h 6858000"/>
              <a:gd name="connsiteX559" fmla="*/ 413146 w 5242560"/>
              <a:gd name="connsiteY559" fmla="*/ 4992497 h 6858000"/>
              <a:gd name="connsiteX560" fmla="*/ 288392 w 5242560"/>
              <a:gd name="connsiteY560" fmla="*/ 5116340 h 6858000"/>
              <a:gd name="connsiteX561" fmla="*/ 195670 w 5242560"/>
              <a:gd name="connsiteY561" fmla="*/ 4903846 h 6858000"/>
              <a:gd name="connsiteX562" fmla="*/ 4697956 w 5242560"/>
              <a:gd name="connsiteY562" fmla="*/ 4899775 h 6858000"/>
              <a:gd name="connsiteX563" fmla="*/ 4609304 w 5242560"/>
              <a:gd name="connsiteY563" fmla="*/ 5117251 h 6858000"/>
              <a:gd name="connsiteX564" fmla="*/ 4485461 w 5242560"/>
              <a:gd name="connsiteY564" fmla="*/ 4992497 h 6858000"/>
              <a:gd name="connsiteX565" fmla="*/ 4697956 w 5242560"/>
              <a:gd name="connsiteY565" fmla="*/ 4899775 h 6858000"/>
              <a:gd name="connsiteX566" fmla="*/ 3744008 w 5242560"/>
              <a:gd name="connsiteY566" fmla="*/ 4899668 h 6858000"/>
              <a:gd name="connsiteX567" fmla="*/ 3655357 w 5242560"/>
              <a:gd name="connsiteY567" fmla="*/ 5117144 h 6858000"/>
              <a:gd name="connsiteX568" fmla="*/ 3531514 w 5242560"/>
              <a:gd name="connsiteY568" fmla="*/ 4992389 h 6858000"/>
              <a:gd name="connsiteX569" fmla="*/ 3744008 w 5242560"/>
              <a:gd name="connsiteY569" fmla="*/ 4899668 h 6858000"/>
              <a:gd name="connsiteX570" fmla="*/ 2790167 w 5242560"/>
              <a:gd name="connsiteY570" fmla="*/ 4899561 h 6858000"/>
              <a:gd name="connsiteX571" fmla="*/ 2701516 w 5242560"/>
              <a:gd name="connsiteY571" fmla="*/ 5117037 h 6858000"/>
              <a:gd name="connsiteX572" fmla="*/ 2577674 w 5242560"/>
              <a:gd name="connsiteY572" fmla="*/ 4992282 h 6858000"/>
              <a:gd name="connsiteX573" fmla="*/ 2790167 w 5242560"/>
              <a:gd name="connsiteY573" fmla="*/ 4899561 h 6858000"/>
              <a:gd name="connsiteX574" fmla="*/ 1836112 w 5242560"/>
              <a:gd name="connsiteY574" fmla="*/ 4899453 h 6858000"/>
              <a:gd name="connsiteX575" fmla="*/ 1747462 w 5242560"/>
              <a:gd name="connsiteY575" fmla="*/ 5116929 h 6858000"/>
              <a:gd name="connsiteX576" fmla="*/ 1623619 w 5242560"/>
              <a:gd name="connsiteY576" fmla="*/ 4992175 h 6858000"/>
              <a:gd name="connsiteX577" fmla="*/ 1836112 w 5242560"/>
              <a:gd name="connsiteY577" fmla="*/ 4899453 h 6858000"/>
              <a:gd name="connsiteX578" fmla="*/ 882219 w 5242560"/>
              <a:gd name="connsiteY578" fmla="*/ 4899346 h 6858000"/>
              <a:gd name="connsiteX579" fmla="*/ 793568 w 5242560"/>
              <a:gd name="connsiteY579" fmla="*/ 5116822 h 6858000"/>
              <a:gd name="connsiteX580" fmla="*/ 669725 w 5242560"/>
              <a:gd name="connsiteY580" fmla="*/ 4992069 h 6858000"/>
              <a:gd name="connsiteX581" fmla="*/ 882219 w 5242560"/>
              <a:gd name="connsiteY581" fmla="*/ 4899346 h 6858000"/>
              <a:gd name="connsiteX582" fmla="*/ 5177582 w 5242560"/>
              <a:gd name="connsiteY582" fmla="*/ 4657702 h 6858000"/>
              <a:gd name="connsiteX583" fmla="*/ 5235216 w 5242560"/>
              <a:gd name="connsiteY583" fmla="*/ 4696601 h 6858000"/>
              <a:gd name="connsiteX584" fmla="*/ 5242560 w 5242560"/>
              <a:gd name="connsiteY584" fmla="*/ 4711730 h 6858000"/>
              <a:gd name="connsiteX585" fmla="*/ 5242560 w 5242560"/>
              <a:gd name="connsiteY585" fmla="*/ 4911736 h 6858000"/>
              <a:gd name="connsiteX586" fmla="*/ 5210340 w 5242560"/>
              <a:gd name="connsiteY586" fmla="*/ 4900382 h 6858000"/>
              <a:gd name="connsiteX587" fmla="*/ 5086036 w 5242560"/>
              <a:gd name="connsiteY587" fmla="*/ 4789644 h 6858000"/>
              <a:gd name="connsiteX588" fmla="*/ 5086090 w 5242560"/>
              <a:gd name="connsiteY588" fmla="*/ 4789644 h 6858000"/>
              <a:gd name="connsiteX589" fmla="*/ 5177582 w 5242560"/>
              <a:gd name="connsiteY589" fmla="*/ 4657702 h 6858000"/>
              <a:gd name="connsiteX590" fmla="*/ 4223742 w 5242560"/>
              <a:gd name="connsiteY590" fmla="*/ 4657595 h 6858000"/>
              <a:gd name="connsiteX591" fmla="*/ 4281376 w 5242560"/>
              <a:gd name="connsiteY591" fmla="*/ 4696493 h 6858000"/>
              <a:gd name="connsiteX592" fmla="*/ 4324550 w 5242560"/>
              <a:gd name="connsiteY592" fmla="*/ 4924254 h 6858000"/>
              <a:gd name="connsiteX593" fmla="*/ 4132196 w 5242560"/>
              <a:gd name="connsiteY593" fmla="*/ 4789537 h 6858000"/>
              <a:gd name="connsiteX594" fmla="*/ 4132250 w 5242560"/>
              <a:gd name="connsiteY594" fmla="*/ 4789537 h 6858000"/>
              <a:gd name="connsiteX595" fmla="*/ 4223742 w 5242560"/>
              <a:gd name="connsiteY595" fmla="*/ 4657595 h 6858000"/>
              <a:gd name="connsiteX596" fmla="*/ 3269794 w 5242560"/>
              <a:gd name="connsiteY596" fmla="*/ 4657489 h 6858000"/>
              <a:gd name="connsiteX597" fmla="*/ 3327429 w 5242560"/>
              <a:gd name="connsiteY597" fmla="*/ 4696387 h 6858000"/>
              <a:gd name="connsiteX598" fmla="*/ 3370603 w 5242560"/>
              <a:gd name="connsiteY598" fmla="*/ 4924147 h 6858000"/>
              <a:gd name="connsiteX599" fmla="*/ 3178249 w 5242560"/>
              <a:gd name="connsiteY599" fmla="*/ 4789430 h 6858000"/>
              <a:gd name="connsiteX600" fmla="*/ 3178303 w 5242560"/>
              <a:gd name="connsiteY600" fmla="*/ 4789430 h 6858000"/>
              <a:gd name="connsiteX601" fmla="*/ 3269794 w 5242560"/>
              <a:gd name="connsiteY601" fmla="*/ 4657489 h 6858000"/>
              <a:gd name="connsiteX602" fmla="*/ 2315847 w 5242560"/>
              <a:gd name="connsiteY602" fmla="*/ 4657381 h 6858000"/>
              <a:gd name="connsiteX603" fmla="*/ 2373482 w 5242560"/>
              <a:gd name="connsiteY603" fmla="*/ 4696280 h 6858000"/>
              <a:gd name="connsiteX604" fmla="*/ 2416708 w 5242560"/>
              <a:gd name="connsiteY604" fmla="*/ 4924040 h 6858000"/>
              <a:gd name="connsiteX605" fmla="*/ 2224355 w 5242560"/>
              <a:gd name="connsiteY605" fmla="*/ 4789322 h 6858000"/>
              <a:gd name="connsiteX606" fmla="*/ 2315847 w 5242560"/>
              <a:gd name="connsiteY606" fmla="*/ 4657381 h 6858000"/>
              <a:gd name="connsiteX607" fmla="*/ 1361900 w 5242560"/>
              <a:gd name="connsiteY607" fmla="*/ 4657274 h 6858000"/>
              <a:gd name="connsiteX608" fmla="*/ 1419534 w 5242560"/>
              <a:gd name="connsiteY608" fmla="*/ 4696173 h 6858000"/>
              <a:gd name="connsiteX609" fmla="*/ 1462708 w 5242560"/>
              <a:gd name="connsiteY609" fmla="*/ 4923932 h 6858000"/>
              <a:gd name="connsiteX610" fmla="*/ 1270354 w 5242560"/>
              <a:gd name="connsiteY610" fmla="*/ 4789216 h 6858000"/>
              <a:gd name="connsiteX611" fmla="*/ 1270408 w 5242560"/>
              <a:gd name="connsiteY611" fmla="*/ 4789216 h 6858000"/>
              <a:gd name="connsiteX612" fmla="*/ 1361900 w 5242560"/>
              <a:gd name="connsiteY612" fmla="*/ 4657274 h 6858000"/>
              <a:gd name="connsiteX613" fmla="*/ 408006 w 5242560"/>
              <a:gd name="connsiteY613" fmla="*/ 4657167 h 6858000"/>
              <a:gd name="connsiteX614" fmla="*/ 465641 w 5242560"/>
              <a:gd name="connsiteY614" fmla="*/ 4696065 h 6858000"/>
              <a:gd name="connsiteX615" fmla="*/ 508814 w 5242560"/>
              <a:gd name="connsiteY615" fmla="*/ 4923825 h 6858000"/>
              <a:gd name="connsiteX616" fmla="*/ 316461 w 5242560"/>
              <a:gd name="connsiteY616" fmla="*/ 4789109 h 6858000"/>
              <a:gd name="connsiteX617" fmla="*/ 316514 w 5242560"/>
              <a:gd name="connsiteY617" fmla="*/ 4789109 h 6858000"/>
              <a:gd name="connsiteX618" fmla="*/ 408006 w 5242560"/>
              <a:gd name="connsiteY618" fmla="*/ 4657167 h 6858000"/>
              <a:gd name="connsiteX619" fmla="*/ 4375866 w 5242560"/>
              <a:gd name="connsiteY619" fmla="*/ 4601415 h 6858000"/>
              <a:gd name="connsiteX620" fmla="*/ 4568220 w 5242560"/>
              <a:gd name="connsiteY620" fmla="*/ 4736133 h 6858000"/>
              <a:gd name="connsiteX621" fmla="*/ 4419094 w 5242560"/>
              <a:gd name="connsiteY621" fmla="*/ 4829175 h 6858000"/>
              <a:gd name="connsiteX622" fmla="*/ 4375866 w 5242560"/>
              <a:gd name="connsiteY622" fmla="*/ 4601415 h 6858000"/>
              <a:gd name="connsiteX623" fmla="*/ 3422026 w 5242560"/>
              <a:gd name="connsiteY623" fmla="*/ 4601308 h 6858000"/>
              <a:gd name="connsiteX624" fmla="*/ 3614380 w 5242560"/>
              <a:gd name="connsiteY624" fmla="*/ 4736025 h 6858000"/>
              <a:gd name="connsiteX625" fmla="*/ 3614326 w 5242560"/>
              <a:gd name="connsiteY625" fmla="*/ 4736025 h 6858000"/>
              <a:gd name="connsiteX626" fmla="*/ 3465200 w 5242560"/>
              <a:gd name="connsiteY626" fmla="*/ 4829068 h 6858000"/>
              <a:gd name="connsiteX627" fmla="*/ 3422026 w 5242560"/>
              <a:gd name="connsiteY627" fmla="*/ 4601308 h 6858000"/>
              <a:gd name="connsiteX628" fmla="*/ 2468078 w 5242560"/>
              <a:gd name="connsiteY628" fmla="*/ 4601201 h 6858000"/>
              <a:gd name="connsiteX629" fmla="*/ 2660432 w 5242560"/>
              <a:gd name="connsiteY629" fmla="*/ 4735918 h 6858000"/>
              <a:gd name="connsiteX630" fmla="*/ 2660378 w 5242560"/>
              <a:gd name="connsiteY630" fmla="*/ 4735918 h 6858000"/>
              <a:gd name="connsiteX631" fmla="*/ 2511252 w 5242560"/>
              <a:gd name="connsiteY631" fmla="*/ 4828962 h 6858000"/>
              <a:gd name="connsiteX632" fmla="*/ 2468078 w 5242560"/>
              <a:gd name="connsiteY632" fmla="*/ 4601201 h 6858000"/>
              <a:gd name="connsiteX633" fmla="*/ 1514130 w 5242560"/>
              <a:gd name="connsiteY633" fmla="*/ 4601093 h 6858000"/>
              <a:gd name="connsiteX634" fmla="*/ 1706485 w 5242560"/>
              <a:gd name="connsiteY634" fmla="*/ 4735811 h 6858000"/>
              <a:gd name="connsiteX635" fmla="*/ 1706431 w 5242560"/>
              <a:gd name="connsiteY635" fmla="*/ 4735811 h 6858000"/>
              <a:gd name="connsiteX636" fmla="*/ 1557305 w 5242560"/>
              <a:gd name="connsiteY636" fmla="*/ 4828854 h 6858000"/>
              <a:gd name="connsiteX637" fmla="*/ 1514130 w 5242560"/>
              <a:gd name="connsiteY637" fmla="*/ 4601093 h 6858000"/>
              <a:gd name="connsiteX638" fmla="*/ 560183 w 5242560"/>
              <a:gd name="connsiteY638" fmla="*/ 4600987 h 6858000"/>
              <a:gd name="connsiteX639" fmla="*/ 752536 w 5242560"/>
              <a:gd name="connsiteY639" fmla="*/ 4735703 h 6858000"/>
              <a:gd name="connsiteX640" fmla="*/ 603411 w 5242560"/>
              <a:gd name="connsiteY640" fmla="*/ 4828747 h 6858000"/>
              <a:gd name="connsiteX641" fmla="*/ 560183 w 5242560"/>
              <a:gd name="connsiteY641" fmla="*/ 4600987 h 6858000"/>
              <a:gd name="connsiteX642" fmla="*/ 5123546 w 5242560"/>
              <a:gd name="connsiteY642" fmla="*/ 4385413 h 6858000"/>
              <a:gd name="connsiteX643" fmla="*/ 5182240 w 5242560"/>
              <a:gd name="connsiteY643" fmla="*/ 4534673 h 6858000"/>
              <a:gd name="connsiteX644" fmla="*/ 4969746 w 5242560"/>
              <a:gd name="connsiteY644" fmla="*/ 4627395 h 6858000"/>
              <a:gd name="connsiteX645" fmla="*/ 5058397 w 5242560"/>
              <a:gd name="connsiteY645" fmla="*/ 4409972 h 6858000"/>
              <a:gd name="connsiteX646" fmla="*/ 5058397 w 5242560"/>
              <a:gd name="connsiteY646" fmla="*/ 4409919 h 6858000"/>
              <a:gd name="connsiteX647" fmla="*/ 5123546 w 5242560"/>
              <a:gd name="connsiteY647" fmla="*/ 4385413 h 6858000"/>
              <a:gd name="connsiteX648" fmla="*/ 4169599 w 5242560"/>
              <a:gd name="connsiteY648" fmla="*/ 4385306 h 6858000"/>
              <a:gd name="connsiteX649" fmla="*/ 4228293 w 5242560"/>
              <a:gd name="connsiteY649" fmla="*/ 4534566 h 6858000"/>
              <a:gd name="connsiteX650" fmla="*/ 4015798 w 5242560"/>
              <a:gd name="connsiteY650" fmla="*/ 4627287 h 6858000"/>
              <a:gd name="connsiteX651" fmla="*/ 4104450 w 5242560"/>
              <a:gd name="connsiteY651" fmla="*/ 4409865 h 6858000"/>
              <a:gd name="connsiteX652" fmla="*/ 4104450 w 5242560"/>
              <a:gd name="connsiteY652" fmla="*/ 4409811 h 6858000"/>
              <a:gd name="connsiteX653" fmla="*/ 4169599 w 5242560"/>
              <a:gd name="connsiteY653" fmla="*/ 4385306 h 6858000"/>
              <a:gd name="connsiteX654" fmla="*/ 4544847 w 5242560"/>
              <a:gd name="connsiteY654" fmla="*/ 4385225 h 6858000"/>
              <a:gd name="connsiteX655" fmla="*/ 4609679 w 5242560"/>
              <a:gd name="connsiteY655" fmla="*/ 4410347 h 6858000"/>
              <a:gd name="connsiteX656" fmla="*/ 4702400 w 5242560"/>
              <a:gd name="connsiteY656" fmla="*/ 4622841 h 6858000"/>
              <a:gd name="connsiteX657" fmla="*/ 4484926 w 5242560"/>
              <a:gd name="connsiteY657" fmla="*/ 4534190 h 6858000"/>
              <a:gd name="connsiteX658" fmla="*/ 4544847 w 5242560"/>
              <a:gd name="connsiteY658" fmla="*/ 4385225 h 6858000"/>
              <a:gd name="connsiteX659" fmla="*/ 3215705 w 5242560"/>
              <a:gd name="connsiteY659" fmla="*/ 4385198 h 6858000"/>
              <a:gd name="connsiteX660" fmla="*/ 3274400 w 5242560"/>
              <a:gd name="connsiteY660" fmla="*/ 4534458 h 6858000"/>
              <a:gd name="connsiteX661" fmla="*/ 3061905 w 5242560"/>
              <a:gd name="connsiteY661" fmla="*/ 4627180 h 6858000"/>
              <a:gd name="connsiteX662" fmla="*/ 3150556 w 5242560"/>
              <a:gd name="connsiteY662" fmla="*/ 4409758 h 6858000"/>
              <a:gd name="connsiteX663" fmla="*/ 3150556 w 5242560"/>
              <a:gd name="connsiteY663" fmla="*/ 4409704 h 6858000"/>
              <a:gd name="connsiteX664" fmla="*/ 3215705 w 5242560"/>
              <a:gd name="connsiteY664" fmla="*/ 4385198 h 6858000"/>
              <a:gd name="connsiteX665" fmla="*/ 3590900 w 5242560"/>
              <a:gd name="connsiteY665" fmla="*/ 4385118 h 6858000"/>
              <a:gd name="connsiteX666" fmla="*/ 3655732 w 5242560"/>
              <a:gd name="connsiteY666" fmla="*/ 4410241 h 6858000"/>
              <a:gd name="connsiteX667" fmla="*/ 3748453 w 5242560"/>
              <a:gd name="connsiteY667" fmla="*/ 4622734 h 6858000"/>
              <a:gd name="connsiteX668" fmla="*/ 3530978 w 5242560"/>
              <a:gd name="connsiteY668" fmla="*/ 4534084 h 6858000"/>
              <a:gd name="connsiteX669" fmla="*/ 3590900 w 5242560"/>
              <a:gd name="connsiteY669" fmla="*/ 4385118 h 6858000"/>
              <a:gd name="connsiteX670" fmla="*/ 2261704 w 5242560"/>
              <a:gd name="connsiteY670" fmla="*/ 4385092 h 6858000"/>
              <a:gd name="connsiteX671" fmla="*/ 2320398 w 5242560"/>
              <a:gd name="connsiteY671" fmla="*/ 4534351 h 6858000"/>
              <a:gd name="connsiteX672" fmla="*/ 2107904 w 5242560"/>
              <a:gd name="connsiteY672" fmla="*/ 4627073 h 6858000"/>
              <a:gd name="connsiteX673" fmla="*/ 2196555 w 5242560"/>
              <a:gd name="connsiteY673" fmla="*/ 4409650 h 6858000"/>
              <a:gd name="connsiteX674" fmla="*/ 2196555 w 5242560"/>
              <a:gd name="connsiteY674" fmla="*/ 4409597 h 6858000"/>
              <a:gd name="connsiteX675" fmla="*/ 2261704 w 5242560"/>
              <a:gd name="connsiteY675" fmla="*/ 4385092 h 6858000"/>
              <a:gd name="connsiteX676" fmla="*/ 2637006 w 5242560"/>
              <a:gd name="connsiteY676" fmla="*/ 4385011 h 6858000"/>
              <a:gd name="connsiteX677" fmla="*/ 2701838 w 5242560"/>
              <a:gd name="connsiteY677" fmla="*/ 4410133 h 6858000"/>
              <a:gd name="connsiteX678" fmla="*/ 2794559 w 5242560"/>
              <a:gd name="connsiteY678" fmla="*/ 4622627 h 6858000"/>
              <a:gd name="connsiteX679" fmla="*/ 2577137 w 5242560"/>
              <a:gd name="connsiteY679" fmla="*/ 4533977 h 6858000"/>
              <a:gd name="connsiteX680" fmla="*/ 2577084 w 5242560"/>
              <a:gd name="connsiteY680" fmla="*/ 4533977 h 6858000"/>
              <a:gd name="connsiteX681" fmla="*/ 2637006 w 5242560"/>
              <a:gd name="connsiteY681" fmla="*/ 4385011 h 6858000"/>
              <a:gd name="connsiteX682" fmla="*/ 1307810 w 5242560"/>
              <a:gd name="connsiteY682" fmla="*/ 4384985 h 6858000"/>
              <a:gd name="connsiteX683" fmla="*/ 1366505 w 5242560"/>
              <a:gd name="connsiteY683" fmla="*/ 4534244 h 6858000"/>
              <a:gd name="connsiteX684" fmla="*/ 1154010 w 5242560"/>
              <a:gd name="connsiteY684" fmla="*/ 4626965 h 6858000"/>
              <a:gd name="connsiteX685" fmla="*/ 1242661 w 5242560"/>
              <a:gd name="connsiteY685" fmla="*/ 4409544 h 6858000"/>
              <a:gd name="connsiteX686" fmla="*/ 1242661 w 5242560"/>
              <a:gd name="connsiteY686" fmla="*/ 4409490 h 6858000"/>
              <a:gd name="connsiteX687" fmla="*/ 1307810 w 5242560"/>
              <a:gd name="connsiteY687" fmla="*/ 4384985 h 6858000"/>
              <a:gd name="connsiteX688" fmla="*/ 1683005 w 5242560"/>
              <a:gd name="connsiteY688" fmla="*/ 4384904 h 6858000"/>
              <a:gd name="connsiteX689" fmla="*/ 1747836 w 5242560"/>
              <a:gd name="connsiteY689" fmla="*/ 4410026 h 6858000"/>
              <a:gd name="connsiteX690" fmla="*/ 1840558 w 5242560"/>
              <a:gd name="connsiteY690" fmla="*/ 4622519 h 6858000"/>
              <a:gd name="connsiteX691" fmla="*/ 1623083 w 5242560"/>
              <a:gd name="connsiteY691" fmla="*/ 4533869 h 6858000"/>
              <a:gd name="connsiteX692" fmla="*/ 1683005 w 5242560"/>
              <a:gd name="connsiteY692" fmla="*/ 4384904 h 6858000"/>
              <a:gd name="connsiteX693" fmla="*/ 353970 w 5242560"/>
              <a:gd name="connsiteY693" fmla="*/ 4384878 h 6858000"/>
              <a:gd name="connsiteX694" fmla="*/ 412663 w 5242560"/>
              <a:gd name="connsiteY694" fmla="*/ 4534137 h 6858000"/>
              <a:gd name="connsiteX695" fmla="*/ 200170 w 5242560"/>
              <a:gd name="connsiteY695" fmla="*/ 4626858 h 6858000"/>
              <a:gd name="connsiteX696" fmla="*/ 288821 w 5242560"/>
              <a:gd name="connsiteY696" fmla="*/ 4409437 h 6858000"/>
              <a:gd name="connsiteX697" fmla="*/ 288821 w 5242560"/>
              <a:gd name="connsiteY697" fmla="*/ 4409383 h 6858000"/>
              <a:gd name="connsiteX698" fmla="*/ 353970 w 5242560"/>
              <a:gd name="connsiteY698" fmla="*/ 4384878 h 6858000"/>
              <a:gd name="connsiteX699" fmla="*/ 729111 w 5242560"/>
              <a:gd name="connsiteY699" fmla="*/ 4384796 h 6858000"/>
              <a:gd name="connsiteX700" fmla="*/ 793943 w 5242560"/>
              <a:gd name="connsiteY700" fmla="*/ 4409919 h 6858000"/>
              <a:gd name="connsiteX701" fmla="*/ 886665 w 5242560"/>
              <a:gd name="connsiteY701" fmla="*/ 4622413 h 6858000"/>
              <a:gd name="connsiteX702" fmla="*/ 669189 w 5242560"/>
              <a:gd name="connsiteY702" fmla="*/ 4533762 h 6858000"/>
              <a:gd name="connsiteX703" fmla="*/ 729111 w 5242560"/>
              <a:gd name="connsiteY703" fmla="*/ 4384796 h 6858000"/>
              <a:gd name="connsiteX704" fmla="*/ 4964871 w 5242560"/>
              <a:gd name="connsiteY704" fmla="*/ 4302962 h 6858000"/>
              <a:gd name="connsiteX705" fmla="*/ 5004082 w 5242560"/>
              <a:gd name="connsiteY705" fmla="*/ 4307929 h 6858000"/>
              <a:gd name="connsiteX706" fmla="*/ 4869364 w 5242560"/>
              <a:gd name="connsiteY706" fmla="*/ 4500284 h 6858000"/>
              <a:gd name="connsiteX707" fmla="*/ 4869364 w 5242560"/>
              <a:gd name="connsiteY707" fmla="*/ 4500230 h 6858000"/>
              <a:gd name="connsiteX708" fmla="*/ 4776322 w 5242560"/>
              <a:gd name="connsiteY708" fmla="*/ 4351104 h 6858000"/>
              <a:gd name="connsiteX709" fmla="*/ 4964871 w 5242560"/>
              <a:gd name="connsiteY709" fmla="*/ 4302962 h 6858000"/>
              <a:gd name="connsiteX710" fmla="*/ 5242560 w 5242560"/>
              <a:gd name="connsiteY710" fmla="*/ 4302862 h 6858000"/>
              <a:gd name="connsiteX711" fmla="*/ 5242560 w 5242560"/>
              <a:gd name="connsiteY711" fmla="*/ 4351463 h 6858000"/>
              <a:gd name="connsiteX712" fmla="*/ 5226164 w 5242560"/>
              <a:gd name="connsiteY712" fmla="*/ 4349390 h 6858000"/>
              <a:gd name="connsiteX713" fmla="*/ 4010923 w 5242560"/>
              <a:gd name="connsiteY713" fmla="*/ 4302855 h 6858000"/>
              <a:gd name="connsiteX714" fmla="*/ 4050134 w 5242560"/>
              <a:gd name="connsiteY714" fmla="*/ 4307822 h 6858000"/>
              <a:gd name="connsiteX715" fmla="*/ 3915417 w 5242560"/>
              <a:gd name="connsiteY715" fmla="*/ 4500176 h 6858000"/>
              <a:gd name="connsiteX716" fmla="*/ 3915417 w 5242560"/>
              <a:gd name="connsiteY716" fmla="*/ 4500123 h 6858000"/>
              <a:gd name="connsiteX717" fmla="*/ 3822374 w 5242560"/>
              <a:gd name="connsiteY717" fmla="*/ 4350996 h 6858000"/>
              <a:gd name="connsiteX718" fmla="*/ 4010923 w 5242560"/>
              <a:gd name="connsiteY718" fmla="*/ 4302855 h 6858000"/>
              <a:gd name="connsiteX719" fmla="*/ 3057060 w 5242560"/>
              <a:gd name="connsiteY719" fmla="*/ 4302748 h 6858000"/>
              <a:gd name="connsiteX720" fmla="*/ 3096294 w 5242560"/>
              <a:gd name="connsiteY720" fmla="*/ 4307716 h 6858000"/>
              <a:gd name="connsiteX721" fmla="*/ 2961577 w 5242560"/>
              <a:gd name="connsiteY721" fmla="*/ 4500069 h 6858000"/>
              <a:gd name="connsiteX722" fmla="*/ 2961577 w 5242560"/>
              <a:gd name="connsiteY722" fmla="*/ 4500015 h 6858000"/>
              <a:gd name="connsiteX723" fmla="*/ 2868533 w 5242560"/>
              <a:gd name="connsiteY723" fmla="*/ 4350890 h 6858000"/>
              <a:gd name="connsiteX724" fmla="*/ 3057060 w 5242560"/>
              <a:gd name="connsiteY724" fmla="*/ 4302748 h 6858000"/>
              <a:gd name="connsiteX725" fmla="*/ 2103029 w 5242560"/>
              <a:gd name="connsiteY725" fmla="*/ 4302641 h 6858000"/>
              <a:gd name="connsiteX726" fmla="*/ 2142240 w 5242560"/>
              <a:gd name="connsiteY726" fmla="*/ 4307609 h 6858000"/>
              <a:gd name="connsiteX727" fmla="*/ 2007522 w 5242560"/>
              <a:gd name="connsiteY727" fmla="*/ 4499963 h 6858000"/>
              <a:gd name="connsiteX728" fmla="*/ 2007522 w 5242560"/>
              <a:gd name="connsiteY728" fmla="*/ 4499909 h 6858000"/>
              <a:gd name="connsiteX729" fmla="*/ 1914478 w 5242560"/>
              <a:gd name="connsiteY729" fmla="*/ 4350783 h 6858000"/>
              <a:gd name="connsiteX730" fmla="*/ 2103029 w 5242560"/>
              <a:gd name="connsiteY730" fmla="*/ 4302641 h 6858000"/>
              <a:gd name="connsiteX731" fmla="*/ 1149135 w 5242560"/>
              <a:gd name="connsiteY731" fmla="*/ 4302534 h 6858000"/>
              <a:gd name="connsiteX732" fmla="*/ 1188346 w 5242560"/>
              <a:gd name="connsiteY732" fmla="*/ 4307501 h 6858000"/>
              <a:gd name="connsiteX733" fmla="*/ 1053628 w 5242560"/>
              <a:gd name="connsiteY733" fmla="*/ 4499855 h 6858000"/>
              <a:gd name="connsiteX734" fmla="*/ 1053628 w 5242560"/>
              <a:gd name="connsiteY734" fmla="*/ 4499802 h 6858000"/>
              <a:gd name="connsiteX735" fmla="*/ 960585 w 5242560"/>
              <a:gd name="connsiteY735" fmla="*/ 4350675 h 6858000"/>
              <a:gd name="connsiteX736" fmla="*/ 1149135 w 5242560"/>
              <a:gd name="connsiteY736" fmla="*/ 4302534 h 6858000"/>
              <a:gd name="connsiteX737" fmla="*/ 195295 w 5242560"/>
              <a:gd name="connsiteY737" fmla="*/ 4302427 h 6858000"/>
              <a:gd name="connsiteX738" fmla="*/ 234506 w 5242560"/>
              <a:gd name="connsiteY738" fmla="*/ 4307394 h 6858000"/>
              <a:gd name="connsiteX739" fmla="*/ 99788 w 5242560"/>
              <a:gd name="connsiteY739" fmla="*/ 4499748 h 6858000"/>
              <a:gd name="connsiteX740" fmla="*/ 99788 w 5242560"/>
              <a:gd name="connsiteY740" fmla="*/ 4499694 h 6858000"/>
              <a:gd name="connsiteX741" fmla="*/ 2621 w 5242560"/>
              <a:gd name="connsiteY741" fmla="*/ 4493930 h 6858000"/>
              <a:gd name="connsiteX742" fmla="*/ 0 w 5242560"/>
              <a:gd name="connsiteY742" fmla="*/ 4490962 h 6858000"/>
              <a:gd name="connsiteX743" fmla="*/ 0 w 5242560"/>
              <a:gd name="connsiteY743" fmla="*/ 4357223 h 6858000"/>
              <a:gd name="connsiteX744" fmla="*/ 6745 w 5242560"/>
              <a:gd name="connsiteY744" fmla="*/ 4350568 h 6858000"/>
              <a:gd name="connsiteX745" fmla="*/ 195295 w 5242560"/>
              <a:gd name="connsiteY745" fmla="*/ 4302427 h 6858000"/>
              <a:gd name="connsiteX746" fmla="*/ 4442775 w 5242560"/>
              <a:gd name="connsiteY746" fmla="*/ 4144580 h 6858000"/>
              <a:gd name="connsiteX747" fmla="*/ 4499924 w 5242560"/>
              <a:gd name="connsiteY747" fmla="*/ 4306162 h 6858000"/>
              <a:gd name="connsiteX748" fmla="*/ 4272164 w 5242560"/>
              <a:gd name="connsiteY748" fmla="*/ 4349390 h 6858000"/>
              <a:gd name="connsiteX749" fmla="*/ 4406881 w 5242560"/>
              <a:gd name="connsiteY749" fmla="*/ 4157036 h 6858000"/>
              <a:gd name="connsiteX750" fmla="*/ 4442775 w 5242560"/>
              <a:gd name="connsiteY750" fmla="*/ 4144580 h 6858000"/>
              <a:gd name="connsiteX751" fmla="*/ 3488880 w 5242560"/>
              <a:gd name="connsiteY751" fmla="*/ 4144580 h 6858000"/>
              <a:gd name="connsiteX752" fmla="*/ 3546030 w 5242560"/>
              <a:gd name="connsiteY752" fmla="*/ 4306162 h 6858000"/>
              <a:gd name="connsiteX753" fmla="*/ 3318269 w 5242560"/>
              <a:gd name="connsiteY753" fmla="*/ 4349390 h 6858000"/>
              <a:gd name="connsiteX754" fmla="*/ 3452986 w 5242560"/>
              <a:gd name="connsiteY754" fmla="*/ 4157036 h 6858000"/>
              <a:gd name="connsiteX755" fmla="*/ 3488880 w 5242560"/>
              <a:gd name="connsiteY755" fmla="*/ 4144580 h 6858000"/>
              <a:gd name="connsiteX756" fmla="*/ 2534933 w 5242560"/>
              <a:gd name="connsiteY756" fmla="*/ 4144580 h 6858000"/>
              <a:gd name="connsiteX757" fmla="*/ 2592082 w 5242560"/>
              <a:gd name="connsiteY757" fmla="*/ 4306162 h 6858000"/>
              <a:gd name="connsiteX758" fmla="*/ 2364322 w 5242560"/>
              <a:gd name="connsiteY758" fmla="*/ 4349390 h 6858000"/>
              <a:gd name="connsiteX759" fmla="*/ 2499039 w 5242560"/>
              <a:gd name="connsiteY759" fmla="*/ 4157036 h 6858000"/>
              <a:gd name="connsiteX760" fmla="*/ 2534933 w 5242560"/>
              <a:gd name="connsiteY760" fmla="*/ 4144580 h 6858000"/>
              <a:gd name="connsiteX761" fmla="*/ 1580986 w 5242560"/>
              <a:gd name="connsiteY761" fmla="*/ 4144580 h 6858000"/>
              <a:gd name="connsiteX762" fmla="*/ 1638135 w 5242560"/>
              <a:gd name="connsiteY762" fmla="*/ 4306162 h 6858000"/>
              <a:gd name="connsiteX763" fmla="*/ 1410374 w 5242560"/>
              <a:gd name="connsiteY763" fmla="*/ 4349390 h 6858000"/>
              <a:gd name="connsiteX764" fmla="*/ 1545092 w 5242560"/>
              <a:gd name="connsiteY764" fmla="*/ 4157036 h 6858000"/>
              <a:gd name="connsiteX765" fmla="*/ 1580986 w 5242560"/>
              <a:gd name="connsiteY765" fmla="*/ 4144580 h 6858000"/>
              <a:gd name="connsiteX766" fmla="*/ 627146 w 5242560"/>
              <a:gd name="connsiteY766" fmla="*/ 4144580 h 6858000"/>
              <a:gd name="connsiteX767" fmla="*/ 684295 w 5242560"/>
              <a:gd name="connsiteY767" fmla="*/ 4306162 h 6858000"/>
              <a:gd name="connsiteX768" fmla="*/ 456534 w 5242560"/>
              <a:gd name="connsiteY768" fmla="*/ 4349390 h 6858000"/>
              <a:gd name="connsiteX769" fmla="*/ 591251 w 5242560"/>
              <a:gd name="connsiteY769" fmla="*/ 4157036 h 6858000"/>
              <a:gd name="connsiteX770" fmla="*/ 627146 w 5242560"/>
              <a:gd name="connsiteY770" fmla="*/ 4144580 h 6858000"/>
              <a:gd name="connsiteX771" fmla="*/ 0 w 5242560"/>
              <a:gd name="connsiteY771" fmla="*/ 4112533 h 6858000"/>
              <a:gd name="connsiteX772" fmla="*/ 8245 w 5242560"/>
              <a:gd name="connsiteY772" fmla="*/ 4119808 h 6858000"/>
              <a:gd name="connsiteX773" fmla="*/ 8298 w 5242560"/>
              <a:gd name="connsiteY773" fmla="*/ 4119808 h 6858000"/>
              <a:gd name="connsiteX774" fmla="*/ 5480 w 5242560"/>
              <a:gd name="connsiteY774" fmla="*/ 4241910 h 6858000"/>
              <a:gd name="connsiteX775" fmla="*/ 0 w 5242560"/>
              <a:gd name="connsiteY775" fmla="*/ 4245791 h 6858000"/>
              <a:gd name="connsiteX776" fmla="*/ 4560452 w 5242560"/>
              <a:gd name="connsiteY776" fmla="*/ 4031156 h 6858000"/>
              <a:gd name="connsiteX777" fmla="*/ 4777874 w 5242560"/>
              <a:gd name="connsiteY777" fmla="*/ 4119808 h 6858000"/>
              <a:gd name="connsiteX778" fmla="*/ 4777928 w 5242560"/>
              <a:gd name="connsiteY778" fmla="*/ 4119808 h 6858000"/>
              <a:gd name="connsiteX779" fmla="*/ 4653175 w 5242560"/>
              <a:gd name="connsiteY779" fmla="*/ 4243651 h 6858000"/>
              <a:gd name="connsiteX780" fmla="*/ 4560452 w 5242560"/>
              <a:gd name="connsiteY780" fmla="*/ 4031156 h 6858000"/>
              <a:gd name="connsiteX781" fmla="*/ 3606505 w 5242560"/>
              <a:gd name="connsiteY781" fmla="*/ 4031156 h 6858000"/>
              <a:gd name="connsiteX782" fmla="*/ 3823981 w 5242560"/>
              <a:gd name="connsiteY782" fmla="*/ 4119808 h 6858000"/>
              <a:gd name="connsiteX783" fmla="*/ 3699226 w 5242560"/>
              <a:gd name="connsiteY783" fmla="*/ 4243651 h 6858000"/>
              <a:gd name="connsiteX784" fmla="*/ 3606505 w 5242560"/>
              <a:gd name="connsiteY784" fmla="*/ 4031156 h 6858000"/>
              <a:gd name="connsiteX785" fmla="*/ 2652558 w 5242560"/>
              <a:gd name="connsiteY785" fmla="*/ 4031156 h 6858000"/>
              <a:gd name="connsiteX786" fmla="*/ 2870034 w 5242560"/>
              <a:gd name="connsiteY786" fmla="*/ 4119808 h 6858000"/>
              <a:gd name="connsiteX787" fmla="*/ 2745279 w 5242560"/>
              <a:gd name="connsiteY787" fmla="*/ 4243651 h 6858000"/>
              <a:gd name="connsiteX788" fmla="*/ 2652558 w 5242560"/>
              <a:gd name="connsiteY788" fmla="*/ 4031156 h 6858000"/>
              <a:gd name="connsiteX789" fmla="*/ 1698664 w 5242560"/>
              <a:gd name="connsiteY789" fmla="*/ 4031156 h 6858000"/>
              <a:gd name="connsiteX790" fmla="*/ 1916140 w 5242560"/>
              <a:gd name="connsiteY790" fmla="*/ 4119808 h 6858000"/>
              <a:gd name="connsiteX791" fmla="*/ 1791385 w 5242560"/>
              <a:gd name="connsiteY791" fmla="*/ 4243651 h 6858000"/>
              <a:gd name="connsiteX792" fmla="*/ 1698664 w 5242560"/>
              <a:gd name="connsiteY792" fmla="*/ 4031156 h 6858000"/>
              <a:gd name="connsiteX793" fmla="*/ 744824 w 5242560"/>
              <a:gd name="connsiteY793" fmla="*/ 4031156 h 6858000"/>
              <a:gd name="connsiteX794" fmla="*/ 962299 w 5242560"/>
              <a:gd name="connsiteY794" fmla="*/ 4119808 h 6858000"/>
              <a:gd name="connsiteX795" fmla="*/ 837545 w 5242560"/>
              <a:gd name="connsiteY795" fmla="*/ 4243651 h 6858000"/>
              <a:gd name="connsiteX796" fmla="*/ 744824 w 5242560"/>
              <a:gd name="connsiteY796" fmla="*/ 4031156 h 6858000"/>
              <a:gd name="connsiteX797" fmla="*/ 5242560 w 5242560"/>
              <a:gd name="connsiteY797" fmla="*/ 4026995 h 6858000"/>
              <a:gd name="connsiteX798" fmla="*/ 5242560 w 5242560"/>
              <a:gd name="connsiteY798" fmla="*/ 4065514 h 6858000"/>
              <a:gd name="connsiteX799" fmla="*/ 5238786 w 5242560"/>
              <a:gd name="connsiteY799" fmla="*/ 4098224 h 6858000"/>
              <a:gd name="connsiteX800" fmla="*/ 5158404 w 5242560"/>
              <a:gd name="connsiteY800" fmla="*/ 4244027 h 6858000"/>
              <a:gd name="connsiteX801" fmla="*/ 5034560 w 5242560"/>
              <a:gd name="connsiteY801" fmla="*/ 4119272 h 6858000"/>
              <a:gd name="connsiteX802" fmla="*/ 5207699 w 5242560"/>
              <a:gd name="connsiteY802" fmla="*/ 4030440 h 6858000"/>
              <a:gd name="connsiteX803" fmla="*/ 4293160 w 5242560"/>
              <a:gd name="connsiteY803" fmla="*/ 4026551 h 6858000"/>
              <a:gd name="connsiteX804" fmla="*/ 4204510 w 5242560"/>
              <a:gd name="connsiteY804" fmla="*/ 4244027 h 6858000"/>
              <a:gd name="connsiteX805" fmla="*/ 4080667 w 5242560"/>
              <a:gd name="connsiteY805" fmla="*/ 4119272 h 6858000"/>
              <a:gd name="connsiteX806" fmla="*/ 4293160 w 5242560"/>
              <a:gd name="connsiteY806" fmla="*/ 4026551 h 6858000"/>
              <a:gd name="connsiteX807" fmla="*/ 3339160 w 5242560"/>
              <a:gd name="connsiteY807" fmla="*/ 4026551 h 6858000"/>
              <a:gd name="connsiteX808" fmla="*/ 3250510 w 5242560"/>
              <a:gd name="connsiteY808" fmla="*/ 4244027 h 6858000"/>
              <a:gd name="connsiteX809" fmla="*/ 3126666 w 5242560"/>
              <a:gd name="connsiteY809" fmla="*/ 4119272 h 6858000"/>
              <a:gd name="connsiteX810" fmla="*/ 3339160 w 5242560"/>
              <a:gd name="connsiteY810" fmla="*/ 4026551 h 6858000"/>
              <a:gd name="connsiteX811" fmla="*/ 2385212 w 5242560"/>
              <a:gd name="connsiteY811" fmla="*/ 4026551 h 6858000"/>
              <a:gd name="connsiteX812" fmla="*/ 2296562 w 5242560"/>
              <a:gd name="connsiteY812" fmla="*/ 4244027 h 6858000"/>
              <a:gd name="connsiteX813" fmla="*/ 2172718 w 5242560"/>
              <a:gd name="connsiteY813" fmla="*/ 4119272 h 6858000"/>
              <a:gd name="connsiteX814" fmla="*/ 2385212 w 5242560"/>
              <a:gd name="connsiteY814" fmla="*/ 4026551 h 6858000"/>
              <a:gd name="connsiteX815" fmla="*/ 1431372 w 5242560"/>
              <a:gd name="connsiteY815" fmla="*/ 4026551 h 6858000"/>
              <a:gd name="connsiteX816" fmla="*/ 1342721 w 5242560"/>
              <a:gd name="connsiteY816" fmla="*/ 4244027 h 6858000"/>
              <a:gd name="connsiteX817" fmla="*/ 1218877 w 5242560"/>
              <a:gd name="connsiteY817" fmla="*/ 4119272 h 6858000"/>
              <a:gd name="connsiteX818" fmla="*/ 1431372 w 5242560"/>
              <a:gd name="connsiteY818" fmla="*/ 4026551 h 6858000"/>
              <a:gd name="connsiteX819" fmla="*/ 477478 w 5242560"/>
              <a:gd name="connsiteY819" fmla="*/ 4026551 h 6858000"/>
              <a:gd name="connsiteX820" fmla="*/ 388827 w 5242560"/>
              <a:gd name="connsiteY820" fmla="*/ 4244027 h 6858000"/>
              <a:gd name="connsiteX821" fmla="*/ 264984 w 5242560"/>
              <a:gd name="connsiteY821" fmla="*/ 4119272 h 6858000"/>
              <a:gd name="connsiteX822" fmla="*/ 477478 w 5242560"/>
              <a:gd name="connsiteY822" fmla="*/ 4026551 h 6858000"/>
              <a:gd name="connsiteX823" fmla="*/ 4772788 w 5242560"/>
              <a:gd name="connsiteY823" fmla="*/ 3784478 h 6858000"/>
              <a:gd name="connsiteX824" fmla="*/ 4830422 w 5242560"/>
              <a:gd name="connsiteY824" fmla="*/ 3823376 h 6858000"/>
              <a:gd name="connsiteX825" fmla="*/ 4873596 w 5242560"/>
              <a:gd name="connsiteY825" fmla="*/ 4051137 h 6858000"/>
              <a:gd name="connsiteX826" fmla="*/ 4681242 w 5242560"/>
              <a:gd name="connsiteY826" fmla="*/ 3916420 h 6858000"/>
              <a:gd name="connsiteX827" fmla="*/ 4681296 w 5242560"/>
              <a:gd name="connsiteY827" fmla="*/ 3916420 h 6858000"/>
              <a:gd name="connsiteX828" fmla="*/ 4772788 w 5242560"/>
              <a:gd name="connsiteY828" fmla="*/ 3784478 h 6858000"/>
              <a:gd name="connsiteX829" fmla="*/ 3818894 w 5242560"/>
              <a:gd name="connsiteY829" fmla="*/ 3784478 h 6858000"/>
              <a:gd name="connsiteX830" fmla="*/ 3876529 w 5242560"/>
              <a:gd name="connsiteY830" fmla="*/ 3823376 h 6858000"/>
              <a:gd name="connsiteX831" fmla="*/ 3919756 w 5242560"/>
              <a:gd name="connsiteY831" fmla="*/ 4051137 h 6858000"/>
              <a:gd name="connsiteX832" fmla="*/ 3727402 w 5242560"/>
              <a:gd name="connsiteY832" fmla="*/ 3916420 h 6858000"/>
              <a:gd name="connsiteX833" fmla="*/ 3818894 w 5242560"/>
              <a:gd name="connsiteY833" fmla="*/ 3784478 h 6858000"/>
              <a:gd name="connsiteX834" fmla="*/ 2864947 w 5242560"/>
              <a:gd name="connsiteY834" fmla="*/ 3784478 h 6858000"/>
              <a:gd name="connsiteX835" fmla="*/ 2922582 w 5242560"/>
              <a:gd name="connsiteY835" fmla="*/ 3823376 h 6858000"/>
              <a:gd name="connsiteX836" fmla="*/ 2965754 w 5242560"/>
              <a:gd name="connsiteY836" fmla="*/ 4051137 h 6858000"/>
              <a:gd name="connsiteX837" fmla="*/ 2773402 w 5242560"/>
              <a:gd name="connsiteY837" fmla="*/ 3916420 h 6858000"/>
              <a:gd name="connsiteX838" fmla="*/ 2773455 w 5242560"/>
              <a:gd name="connsiteY838" fmla="*/ 3916420 h 6858000"/>
              <a:gd name="connsiteX839" fmla="*/ 2864947 w 5242560"/>
              <a:gd name="connsiteY839" fmla="*/ 3784478 h 6858000"/>
              <a:gd name="connsiteX840" fmla="*/ 1910999 w 5242560"/>
              <a:gd name="connsiteY840" fmla="*/ 3784478 h 6858000"/>
              <a:gd name="connsiteX841" fmla="*/ 1968634 w 5242560"/>
              <a:gd name="connsiteY841" fmla="*/ 3823376 h 6858000"/>
              <a:gd name="connsiteX842" fmla="*/ 2011807 w 5242560"/>
              <a:gd name="connsiteY842" fmla="*/ 4051137 h 6858000"/>
              <a:gd name="connsiteX843" fmla="*/ 1819454 w 5242560"/>
              <a:gd name="connsiteY843" fmla="*/ 3916420 h 6858000"/>
              <a:gd name="connsiteX844" fmla="*/ 1819508 w 5242560"/>
              <a:gd name="connsiteY844" fmla="*/ 3916420 h 6858000"/>
              <a:gd name="connsiteX845" fmla="*/ 1910999 w 5242560"/>
              <a:gd name="connsiteY845" fmla="*/ 3784478 h 6858000"/>
              <a:gd name="connsiteX846" fmla="*/ 957158 w 5242560"/>
              <a:gd name="connsiteY846" fmla="*/ 3784478 h 6858000"/>
              <a:gd name="connsiteX847" fmla="*/ 1014793 w 5242560"/>
              <a:gd name="connsiteY847" fmla="*/ 3823376 h 6858000"/>
              <a:gd name="connsiteX848" fmla="*/ 1057967 w 5242560"/>
              <a:gd name="connsiteY848" fmla="*/ 4051137 h 6858000"/>
              <a:gd name="connsiteX849" fmla="*/ 865614 w 5242560"/>
              <a:gd name="connsiteY849" fmla="*/ 3916420 h 6858000"/>
              <a:gd name="connsiteX850" fmla="*/ 865667 w 5242560"/>
              <a:gd name="connsiteY850" fmla="*/ 3916420 h 6858000"/>
              <a:gd name="connsiteX851" fmla="*/ 957158 w 5242560"/>
              <a:gd name="connsiteY851" fmla="*/ 3784478 h 6858000"/>
              <a:gd name="connsiteX852" fmla="*/ 3104 w 5242560"/>
              <a:gd name="connsiteY852" fmla="*/ 3784478 h 6858000"/>
              <a:gd name="connsiteX853" fmla="*/ 60739 w 5242560"/>
              <a:gd name="connsiteY853" fmla="*/ 3823376 h 6858000"/>
              <a:gd name="connsiteX854" fmla="*/ 103966 w 5242560"/>
              <a:gd name="connsiteY854" fmla="*/ 4051137 h 6858000"/>
              <a:gd name="connsiteX855" fmla="*/ 35916 w 5242560"/>
              <a:gd name="connsiteY855" fmla="*/ 4027157 h 6858000"/>
              <a:gd name="connsiteX856" fmla="*/ 0 w 5242560"/>
              <a:gd name="connsiteY856" fmla="*/ 4005871 h 6858000"/>
              <a:gd name="connsiteX857" fmla="*/ 0 w 5242560"/>
              <a:gd name="connsiteY857" fmla="*/ 3784597 h 6858000"/>
              <a:gd name="connsiteX858" fmla="*/ 4925072 w 5242560"/>
              <a:gd name="connsiteY858" fmla="*/ 3728191 h 6858000"/>
              <a:gd name="connsiteX859" fmla="*/ 5117426 w 5242560"/>
              <a:gd name="connsiteY859" fmla="*/ 3862908 h 6858000"/>
              <a:gd name="connsiteX860" fmla="*/ 5117373 w 5242560"/>
              <a:gd name="connsiteY860" fmla="*/ 3862908 h 6858000"/>
              <a:gd name="connsiteX861" fmla="*/ 4968246 w 5242560"/>
              <a:gd name="connsiteY861" fmla="*/ 3955951 h 6858000"/>
              <a:gd name="connsiteX862" fmla="*/ 4925072 w 5242560"/>
              <a:gd name="connsiteY862" fmla="*/ 3728191 h 6858000"/>
              <a:gd name="connsiteX863" fmla="*/ 3971072 w 5242560"/>
              <a:gd name="connsiteY863" fmla="*/ 3728191 h 6858000"/>
              <a:gd name="connsiteX864" fmla="*/ 4163426 w 5242560"/>
              <a:gd name="connsiteY864" fmla="*/ 3862908 h 6858000"/>
              <a:gd name="connsiteX865" fmla="*/ 4163372 w 5242560"/>
              <a:gd name="connsiteY865" fmla="*/ 3862908 h 6858000"/>
              <a:gd name="connsiteX866" fmla="*/ 4014246 w 5242560"/>
              <a:gd name="connsiteY866" fmla="*/ 3955951 h 6858000"/>
              <a:gd name="connsiteX867" fmla="*/ 3971072 w 5242560"/>
              <a:gd name="connsiteY867" fmla="*/ 3728191 h 6858000"/>
              <a:gd name="connsiteX868" fmla="*/ 3017178 w 5242560"/>
              <a:gd name="connsiteY868" fmla="*/ 3728191 h 6858000"/>
              <a:gd name="connsiteX869" fmla="*/ 3209531 w 5242560"/>
              <a:gd name="connsiteY869" fmla="*/ 3862908 h 6858000"/>
              <a:gd name="connsiteX870" fmla="*/ 3209478 w 5242560"/>
              <a:gd name="connsiteY870" fmla="*/ 3862908 h 6858000"/>
              <a:gd name="connsiteX871" fmla="*/ 3060352 w 5242560"/>
              <a:gd name="connsiteY871" fmla="*/ 3955951 h 6858000"/>
              <a:gd name="connsiteX872" fmla="*/ 3017178 w 5242560"/>
              <a:gd name="connsiteY872" fmla="*/ 3728191 h 6858000"/>
              <a:gd name="connsiteX873" fmla="*/ 2063230 w 5242560"/>
              <a:gd name="connsiteY873" fmla="*/ 3728191 h 6858000"/>
              <a:gd name="connsiteX874" fmla="*/ 2255584 w 5242560"/>
              <a:gd name="connsiteY874" fmla="*/ 3862908 h 6858000"/>
              <a:gd name="connsiteX875" fmla="*/ 2255531 w 5242560"/>
              <a:gd name="connsiteY875" fmla="*/ 3862908 h 6858000"/>
              <a:gd name="connsiteX876" fmla="*/ 2106404 w 5242560"/>
              <a:gd name="connsiteY876" fmla="*/ 3955951 h 6858000"/>
              <a:gd name="connsiteX877" fmla="*/ 2063230 w 5242560"/>
              <a:gd name="connsiteY877" fmla="*/ 3728191 h 6858000"/>
              <a:gd name="connsiteX878" fmla="*/ 1109283 w 5242560"/>
              <a:gd name="connsiteY878" fmla="*/ 3728191 h 6858000"/>
              <a:gd name="connsiteX879" fmla="*/ 1301636 w 5242560"/>
              <a:gd name="connsiteY879" fmla="*/ 3862908 h 6858000"/>
              <a:gd name="connsiteX880" fmla="*/ 1152510 w 5242560"/>
              <a:gd name="connsiteY880" fmla="*/ 3955951 h 6858000"/>
              <a:gd name="connsiteX881" fmla="*/ 1109283 w 5242560"/>
              <a:gd name="connsiteY881" fmla="*/ 3728191 h 6858000"/>
              <a:gd name="connsiteX882" fmla="*/ 155443 w 5242560"/>
              <a:gd name="connsiteY882" fmla="*/ 3728191 h 6858000"/>
              <a:gd name="connsiteX883" fmla="*/ 347796 w 5242560"/>
              <a:gd name="connsiteY883" fmla="*/ 3862908 h 6858000"/>
              <a:gd name="connsiteX884" fmla="*/ 198670 w 5242560"/>
              <a:gd name="connsiteY884" fmla="*/ 3955951 h 6858000"/>
              <a:gd name="connsiteX885" fmla="*/ 155443 w 5242560"/>
              <a:gd name="connsiteY885" fmla="*/ 3728191 h 6858000"/>
              <a:gd name="connsiteX886" fmla="*/ 0 w 5242560"/>
              <a:gd name="connsiteY886" fmla="*/ 3535250 h 6858000"/>
              <a:gd name="connsiteX887" fmla="*/ 6075 w 5242560"/>
              <a:gd name="connsiteY887" fmla="*/ 3539620 h 6858000"/>
              <a:gd name="connsiteX888" fmla="*/ 7816 w 5242560"/>
              <a:gd name="connsiteY888" fmla="*/ 3661555 h 6858000"/>
              <a:gd name="connsiteX889" fmla="*/ 0 w 5242560"/>
              <a:gd name="connsiteY889" fmla="*/ 3667823 h 6858000"/>
              <a:gd name="connsiteX890" fmla="*/ 4718752 w 5242560"/>
              <a:gd name="connsiteY890" fmla="*/ 3512296 h 6858000"/>
              <a:gd name="connsiteX891" fmla="*/ 4777446 w 5242560"/>
              <a:gd name="connsiteY891" fmla="*/ 3661555 h 6858000"/>
              <a:gd name="connsiteX892" fmla="*/ 4564952 w 5242560"/>
              <a:gd name="connsiteY892" fmla="*/ 3754277 h 6858000"/>
              <a:gd name="connsiteX893" fmla="*/ 4653603 w 5242560"/>
              <a:gd name="connsiteY893" fmla="*/ 3536801 h 6858000"/>
              <a:gd name="connsiteX894" fmla="*/ 4718752 w 5242560"/>
              <a:gd name="connsiteY894" fmla="*/ 3512296 h 6858000"/>
              <a:gd name="connsiteX895" fmla="*/ 3764751 w 5242560"/>
              <a:gd name="connsiteY895" fmla="*/ 3512296 h 6858000"/>
              <a:gd name="connsiteX896" fmla="*/ 3823446 w 5242560"/>
              <a:gd name="connsiteY896" fmla="*/ 3661555 h 6858000"/>
              <a:gd name="connsiteX897" fmla="*/ 3610951 w 5242560"/>
              <a:gd name="connsiteY897" fmla="*/ 3754277 h 6858000"/>
              <a:gd name="connsiteX898" fmla="*/ 3699602 w 5242560"/>
              <a:gd name="connsiteY898" fmla="*/ 3536801 h 6858000"/>
              <a:gd name="connsiteX899" fmla="*/ 3764751 w 5242560"/>
              <a:gd name="connsiteY899" fmla="*/ 3512296 h 6858000"/>
              <a:gd name="connsiteX900" fmla="*/ 2810803 w 5242560"/>
              <a:gd name="connsiteY900" fmla="*/ 3512296 h 6858000"/>
              <a:gd name="connsiteX901" fmla="*/ 2869498 w 5242560"/>
              <a:gd name="connsiteY901" fmla="*/ 3661555 h 6858000"/>
              <a:gd name="connsiteX902" fmla="*/ 2657004 w 5242560"/>
              <a:gd name="connsiteY902" fmla="*/ 3754277 h 6858000"/>
              <a:gd name="connsiteX903" fmla="*/ 2745654 w 5242560"/>
              <a:gd name="connsiteY903" fmla="*/ 3536801 h 6858000"/>
              <a:gd name="connsiteX904" fmla="*/ 2810803 w 5242560"/>
              <a:gd name="connsiteY904" fmla="*/ 3512296 h 6858000"/>
              <a:gd name="connsiteX905" fmla="*/ 1856963 w 5242560"/>
              <a:gd name="connsiteY905" fmla="*/ 3512296 h 6858000"/>
              <a:gd name="connsiteX906" fmla="*/ 1915658 w 5242560"/>
              <a:gd name="connsiteY906" fmla="*/ 3661555 h 6858000"/>
              <a:gd name="connsiteX907" fmla="*/ 1703163 w 5242560"/>
              <a:gd name="connsiteY907" fmla="*/ 3754277 h 6858000"/>
              <a:gd name="connsiteX908" fmla="*/ 1791814 w 5242560"/>
              <a:gd name="connsiteY908" fmla="*/ 3536801 h 6858000"/>
              <a:gd name="connsiteX909" fmla="*/ 1856963 w 5242560"/>
              <a:gd name="connsiteY909" fmla="*/ 3512296 h 6858000"/>
              <a:gd name="connsiteX910" fmla="*/ 902963 w 5242560"/>
              <a:gd name="connsiteY910" fmla="*/ 3512296 h 6858000"/>
              <a:gd name="connsiteX911" fmla="*/ 961657 w 5242560"/>
              <a:gd name="connsiteY911" fmla="*/ 3661555 h 6858000"/>
              <a:gd name="connsiteX912" fmla="*/ 749162 w 5242560"/>
              <a:gd name="connsiteY912" fmla="*/ 3754277 h 6858000"/>
              <a:gd name="connsiteX913" fmla="*/ 837814 w 5242560"/>
              <a:gd name="connsiteY913" fmla="*/ 3536801 h 6858000"/>
              <a:gd name="connsiteX914" fmla="*/ 902963 w 5242560"/>
              <a:gd name="connsiteY914" fmla="*/ 3512296 h 6858000"/>
              <a:gd name="connsiteX915" fmla="*/ 5093947 w 5242560"/>
              <a:gd name="connsiteY915" fmla="*/ 3512054 h 6858000"/>
              <a:gd name="connsiteX916" fmla="*/ 5158778 w 5242560"/>
              <a:gd name="connsiteY916" fmla="*/ 3537176 h 6858000"/>
              <a:gd name="connsiteX917" fmla="*/ 5234206 w 5242560"/>
              <a:gd name="connsiteY917" fmla="*/ 3656661 h 6858000"/>
              <a:gd name="connsiteX918" fmla="*/ 5242560 w 5242560"/>
              <a:gd name="connsiteY918" fmla="*/ 3690098 h 6858000"/>
              <a:gd name="connsiteX919" fmla="*/ 5242560 w 5242560"/>
              <a:gd name="connsiteY919" fmla="*/ 3748639 h 6858000"/>
              <a:gd name="connsiteX920" fmla="*/ 5179826 w 5242560"/>
              <a:gd name="connsiteY920" fmla="*/ 3741400 h 6858000"/>
              <a:gd name="connsiteX921" fmla="*/ 5034025 w 5242560"/>
              <a:gd name="connsiteY921" fmla="*/ 3661019 h 6858000"/>
              <a:gd name="connsiteX922" fmla="*/ 5093947 w 5242560"/>
              <a:gd name="connsiteY922" fmla="*/ 3512054 h 6858000"/>
              <a:gd name="connsiteX923" fmla="*/ 4140053 w 5242560"/>
              <a:gd name="connsiteY923" fmla="*/ 3512054 h 6858000"/>
              <a:gd name="connsiteX924" fmla="*/ 4204885 w 5242560"/>
              <a:gd name="connsiteY924" fmla="*/ 3537176 h 6858000"/>
              <a:gd name="connsiteX925" fmla="*/ 4297606 w 5242560"/>
              <a:gd name="connsiteY925" fmla="*/ 3749670 h 6858000"/>
              <a:gd name="connsiteX926" fmla="*/ 4080132 w 5242560"/>
              <a:gd name="connsiteY926" fmla="*/ 3661019 h 6858000"/>
              <a:gd name="connsiteX927" fmla="*/ 4140053 w 5242560"/>
              <a:gd name="connsiteY927" fmla="*/ 3512054 h 6858000"/>
              <a:gd name="connsiteX928" fmla="*/ 3186052 w 5242560"/>
              <a:gd name="connsiteY928" fmla="*/ 3512054 h 6858000"/>
              <a:gd name="connsiteX929" fmla="*/ 3250884 w 5242560"/>
              <a:gd name="connsiteY929" fmla="*/ 3537176 h 6858000"/>
              <a:gd name="connsiteX930" fmla="*/ 3343606 w 5242560"/>
              <a:gd name="connsiteY930" fmla="*/ 3749670 h 6858000"/>
              <a:gd name="connsiteX931" fmla="*/ 3126129 w 5242560"/>
              <a:gd name="connsiteY931" fmla="*/ 3661019 h 6858000"/>
              <a:gd name="connsiteX932" fmla="*/ 3186052 w 5242560"/>
              <a:gd name="connsiteY932" fmla="*/ 3512054 h 6858000"/>
              <a:gd name="connsiteX933" fmla="*/ 2232105 w 5242560"/>
              <a:gd name="connsiteY933" fmla="*/ 3512054 h 6858000"/>
              <a:gd name="connsiteX934" fmla="*/ 2296936 w 5242560"/>
              <a:gd name="connsiteY934" fmla="*/ 3537176 h 6858000"/>
              <a:gd name="connsiteX935" fmla="*/ 2389658 w 5242560"/>
              <a:gd name="connsiteY935" fmla="*/ 3749670 h 6858000"/>
              <a:gd name="connsiteX936" fmla="*/ 2172183 w 5242560"/>
              <a:gd name="connsiteY936" fmla="*/ 3661019 h 6858000"/>
              <a:gd name="connsiteX937" fmla="*/ 2232105 w 5242560"/>
              <a:gd name="connsiteY937" fmla="*/ 3512054 h 6858000"/>
              <a:gd name="connsiteX938" fmla="*/ 1278264 w 5242560"/>
              <a:gd name="connsiteY938" fmla="*/ 3512054 h 6858000"/>
              <a:gd name="connsiteX939" fmla="*/ 1343096 w 5242560"/>
              <a:gd name="connsiteY939" fmla="*/ 3537176 h 6858000"/>
              <a:gd name="connsiteX940" fmla="*/ 1435818 w 5242560"/>
              <a:gd name="connsiteY940" fmla="*/ 3749670 h 6858000"/>
              <a:gd name="connsiteX941" fmla="*/ 1218342 w 5242560"/>
              <a:gd name="connsiteY941" fmla="*/ 3661019 h 6858000"/>
              <a:gd name="connsiteX942" fmla="*/ 1278264 w 5242560"/>
              <a:gd name="connsiteY942" fmla="*/ 3512054 h 6858000"/>
              <a:gd name="connsiteX943" fmla="*/ 324317 w 5242560"/>
              <a:gd name="connsiteY943" fmla="*/ 3512054 h 6858000"/>
              <a:gd name="connsiteX944" fmla="*/ 389149 w 5242560"/>
              <a:gd name="connsiteY944" fmla="*/ 3537176 h 6858000"/>
              <a:gd name="connsiteX945" fmla="*/ 481871 w 5242560"/>
              <a:gd name="connsiteY945" fmla="*/ 3749670 h 6858000"/>
              <a:gd name="connsiteX946" fmla="*/ 264448 w 5242560"/>
              <a:gd name="connsiteY946" fmla="*/ 3661019 h 6858000"/>
              <a:gd name="connsiteX947" fmla="*/ 264395 w 5242560"/>
              <a:gd name="connsiteY947" fmla="*/ 3661019 h 6858000"/>
              <a:gd name="connsiteX948" fmla="*/ 324317 w 5242560"/>
              <a:gd name="connsiteY948" fmla="*/ 3512054 h 6858000"/>
              <a:gd name="connsiteX949" fmla="*/ 4560054 w 5242560"/>
              <a:gd name="connsiteY949" fmla="*/ 3429746 h 6858000"/>
              <a:gd name="connsiteX950" fmla="*/ 4599288 w 5242560"/>
              <a:gd name="connsiteY950" fmla="*/ 3434705 h 6858000"/>
              <a:gd name="connsiteX951" fmla="*/ 4464570 w 5242560"/>
              <a:gd name="connsiteY951" fmla="*/ 3627059 h 6858000"/>
              <a:gd name="connsiteX952" fmla="*/ 4371527 w 5242560"/>
              <a:gd name="connsiteY952" fmla="*/ 3477933 h 6858000"/>
              <a:gd name="connsiteX953" fmla="*/ 4560054 w 5242560"/>
              <a:gd name="connsiteY953" fmla="*/ 3429746 h 6858000"/>
              <a:gd name="connsiteX954" fmla="*/ 3606075 w 5242560"/>
              <a:gd name="connsiteY954" fmla="*/ 3429746 h 6858000"/>
              <a:gd name="connsiteX955" fmla="*/ 3645286 w 5242560"/>
              <a:gd name="connsiteY955" fmla="*/ 3434705 h 6858000"/>
              <a:gd name="connsiteX956" fmla="*/ 3510570 w 5242560"/>
              <a:gd name="connsiteY956" fmla="*/ 3627059 h 6858000"/>
              <a:gd name="connsiteX957" fmla="*/ 3417526 w 5242560"/>
              <a:gd name="connsiteY957" fmla="*/ 3477933 h 6858000"/>
              <a:gd name="connsiteX958" fmla="*/ 3606075 w 5242560"/>
              <a:gd name="connsiteY958" fmla="*/ 3429746 h 6858000"/>
              <a:gd name="connsiteX959" fmla="*/ 2652128 w 5242560"/>
              <a:gd name="connsiteY959" fmla="*/ 3429746 h 6858000"/>
              <a:gd name="connsiteX960" fmla="*/ 2691339 w 5242560"/>
              <a:gd name="connsiteY960" fmla="*/ 3434705 h 6858000"/>
              <a:gd name="connsiteX961" fmla="*/ 2556622 w 5242560"/>
              <a:gd name="connsiteY961" fmla="*/ 3627059 h 6858000"/>
              <a:gd name="connsiteX962" fmla="*/ 2463578 w 5242560"/>
              <a:gd name="connsiteY962" fmla="*/ 3477933 h 6858000"/>
              <a:gd name="connsiteX963" fmla="*/ 2652128 w 5242560"/>
              <a:gd name="connsiteY963" fmla="*/ 3429746 h 6858000"/>
              <a:gd name="connsiteX964" fmla="*/ 1698288 w 5242560"/>
              <a:gd name="connsiteY964" fmla="*/ 3429746 h 6858000"/>
              <a:gd name="connsiteX965" fmla="*/ 1737499 w 5242560"/>
              <a:gd name="connsiteY965" fmla="*/ 3434705 h 6858000"/>
              <a:gd name="connsiteX966" fmla="*/ 1602782 w 5242560"/>
              <a:gd name="connsiteY966" fmla="*/ 3627059 h 6858000"/>
              <a:gd name="connsiteX967" fmla="*/ 1509738 w 5242560"/>
              <a:gd name="connsiteY967" fmla="*/ 3477933 h 6858000"/>
              <a:gd name="connsiteX968" fmla="*/ 1698288 w 5242560"/>
              <a:gd name="connsiteY968" fmla="*/ 3429746 h 6858000"/>
              <a:gd name="connsiteX969" fmla="*/ 744394 w 5242560"/>
              <a:gd name="connsiteY969" fmla="*/ 3429746 h 6858000"/>
              <a:gd name="connsiteX970" fmla="*/ 783605 w 5242560"/>
              <a:gd name="connsiteY970" fmla="*/ 3434705 h 6858000"/>
              <a:gd name="connsiteX971" fmla="*/ 648888 w 5242560"/>
              <a:gd name="connsiteY971" fmla="*/ 3627059 h 6858000"/>
              <a:gd name="connsiteX972" fmla="*/ 555845 w 5242560"/>
              <a:gd name="connsiteY972" fmla="*/ 3477933 h 6858000"/>
              <a:gd name="connsiteX973" fmla="*/ 744394 w 5242560"/>
              <a:gd name="connsiteY973" fmla="*/ 3429746 h 6858000"/>
              <a:gd name="connsiteX974" fmla="*/ 5019996 w 5242560"/>
              <a:gd name="connsiteY974" fmla="*/ 3218701 h 6858000"/>
              <a:gd name="connsiteX975" fmla="*/ 5077146 w 5242560"/>
              <a:gd name="connsiteY975" fmla="*/ 3380283 h 6858000"/>
              <a:gd name="connsiteX976" fmla="*/ 4849385 w 5242560"/>
              <a:gd name="connsiteY976" fmla="*/ 3423510 h 6858000"/>
              <a:gd name="connsiteX977" fmla="*/ 4984102 w 5242560"/>
              <a:gd name="connsiteY977" fmla="*/ 3231157 h 6858000"/>
              <a:gd name="connsiteX978" fmla="*/ 5019996 w 5242560"/>
              <a:gd name="connsiteY978" fmla="*/ 3218701 h 6858000"/>
              <a:gd name="connsiteX979" fmla="*/ 4066156 w 5242560"/>
              <a:gd name="connsiteY979" fmla="*/ 3218648 h 6858000"/>
              <a:gd name="connsiteX980" fmla="*/ 4123304 w 5242560"/>
              <a:gd name="connsiteY980" fmla="*/ 3380230 h 6858000"/>
              <a:gd name="connsiteX981" fmla="*/ 3895544 w 5242560"/>
              <a:gd name="connsiteY981" fmla="*/ 3423456 h 6858000"/>
              <a:gd name="connsiteX982" fmla="*/ 4030261 w 5242560"/>
              <a:gd name="connsiteY982" fmla="*/ 3231103 h 6858000"/>
              <a:gd name="connsiteX983" fmla="*/ 4066156 w 5242560"/>
              <a:gd name="connsiteY983" fmla="*/ 3218648 h 6858000"/>
              <a:gd name="connsiteX984" fmla="*/ 3112208 w 5242560"/>
              <a:gd name="connsiteY984" fmla="*/ 3218594 h 6858000"/>
              <a:gd name="connsiteX985" fmla="*/ 3169357 w 5242560"/>
              <a:gd name="connsiteY985" fmla="*/ 3380176 h 6858000"/>
              <a:gd name="connsiteX986" fmla="*/ 2941596 w 5242560"/>
              <a:gd name="connsiteY986" fmla="*/ 3423403 h 6858000"/>
              <a:gd name="connsiteX987" fmla="*/ 3076314 w 5242560"/>
              <a:gd name="connsiteY987" fmla="*/ 3231050 h 6858000"/>
              <a:gd name="connsiteX988" fmla="*/ 3112208 w 5242560"/>
              <a:gd name="connsiteY988" fmla="*/ 3218594 h 6858000"/>
              <a:gd name="connsiteX989" fmla="*/ 2158368 w 5242560"/>
              <a:gd name="connsiteY989" fmla="*/ 3218540 h 6858000"/>
              <a:gd name="connsiteX990" fmla="*/ 2215517 w 5242560"/>
              <a:gd name="connsiteY990" fmla="*/ 3380122 h 6858000"/>
              <a:gd name="connsiteX991" fmla="*/ 1987756 w 5242560"/>
              <a:gd name="connsiteY991" fmla="*/ 3423349 h 6858000"/>
              <a:gd name="connsiteX992" fmla="*/ 2122474 w 5242560"/>
              <a:gd name="connsiteY992" fmla="*/ 3230996 h 6858000"/>
              <a:gd name="connsiteX993" fmla="*/ 2158368 w 5242560"/>
              <a:gd name="connsiteY993" fmla="*/ 3218540 h 6858000"/>
              <a:gd name="connsiteX994" fmla="*/ 1204421 w 5242560"/>
              <a:gd name="connsiteY994" fmla="*/ 3218487 h 6858000"/>
              <a:gd name="connsiteX995" fmla="*/ 1261570 w 5242560"/>
              <a:gd name="connsiteY995" fmla="*/ 3380069 h 6858000"/>
              <a:gd name="connsiteX996" fmla="*/ 1033809 w 5242560"/>
              <a:gd name="connsiteY996" fmla="*/ 3423297 h 6858000"/>
              <a:gd name="connsiteX997" fmla="*/ 1168526 w 5242560"/>
              <a:gd name="connsiteY997" fmla="*/ 3230942 h 6858000"/>
              <a:gd name="connsiteX998" fmla="*/ 1204421 w 5242560"/>
              <a:gd name="connsiteY998" fmla="*/ 3218487 h 6858000"/>
              <a:gd name="connsiteX999" fmla="*/ 250420 w 5242560"/>
              <a:gd name="connsiteY999" fmla="*/ 3218433 h 6858000"/>
              <a:gd name="connsiteX1000" fmla="*/ 307569 w 5242560"/>
              <a:gd name="connsiteY1000" fmla="*/ 3380015 h 6858000"/>
              <a:gd name="connsiteX1001" fmla="*/ 79808 w 5242560"/>
              <a:gd name="connsiteY1001" fmla="*/ 3423243 h 6858000"/>
              <a:gd name="connsiteX1002" fmla="*/ 214525 w 5242560"/>
              <a:gd name="connsiteY1002" fmla="*/ 3230889 h 6858000"/>
              <a:gd name="connsiteX1003" fmla="*/ 250420 w 5242560"/>
              <a:gd name="connsiteY1003" fmla="*/ 3218433 h 6858000"/>
              <a:gd name="connsiteX1004" fmla="*/ 5137727 w 5242560"/>
              <a:gd name="connsiteY1004" fmla="*/ 3105278 h 6858000"/>
              <a:gd name="connsiteX1005" fmla="*/ 5209370 w 5242560"/>
              <a:gd name="connsiteY1005" fmla="*/ 3113548 h 6858000"/>
              <a:gd name="connsiteX1006" fmla="*/ 5242560 w 5242560"/>
              <a:gd name="connsiteY1006" fmla="*/ 3124220 h 6858000"/>
              <a:gd name="connsiteX1007" fmla="*/ 5242560 w 5242560"/>
              <a:gd name="connsiteY1007" fmla="*/ 3325502 h 6858000"/>
              <a:gd name="connsiteX1008" fmla="*/ 5230450 w 5242560"/>
              <a:gd name="connsiteY1008" fmla="*/ 3317773 h 6858000"/>
              <a:gd name="connsiteX1009" fmla="*/ 5137727 w 5242560"/>
              <a:gd name="connsiteY1009" fmla="*/ 3105278 h 6858000"/>
              <a:gd name="connsiteX1010" fmla="*/ 4183834 w 5242560"/>
              <a:gd name="connsiteY1010" fmla="*/ 3105224 h 6858000"/>
              <a:gd name="connsiteX1011" fmla="*/ 4401310 w 5242560"/>
              <a:gd name="connsiteY1011" fmla="*/ 3193875 h 6858000"/>
              <a:gd name="connsiteX1012" fmla="*/ 4276556 w 5242560"/>
              <a:gd name="connsiteY1012" fmla="*/ 3317719 h 6858000"/>
              <a:gd name="connsiteX1013" fmla="*/ 4183834 w 5242560"/>
              <a:gd name="connsiteY1013" fmla="*/ 3105224 h 6858000"/>
              <a:gd name="connsiteX1014" fmla="*/ 3229940 w 5242560"/>
              <a:gd name="connsiteY1014" fmla="*/ 3105171 h 6858000"/>
              <a:gd name="connsiteX1015" fmla="*/ 3447362 w 5242560"/>
              <a:gd name="connsiteY1015" fmla="*/ 3193822 h 6858000"/>
              <a:gd name="connsiteX1016" fmla="*/ 3447416 w 5242560"/>
              <a:gd name="connsiteY1016" fmla="*/ 3193822 h 6858000"/>
              <a:gd name="connsiteX1017" fmla="*/ 3322661 w 5242560"/>
              <a:gd name="connsiteY1017" fmla="*/ 3317665 h 6858000"/>
              <a:gd name="connsiteX1018" fmla="*/ 3229940 w 5242560"/>
              <a:gd name="connsiteY1018" fmla="*/ 3105171 h 6858000"/>
              <a:gd name="connsiteX1019" fmla="*/ 2275992 w 5242560"/>
              <a:gd name="connsiteY1019" fmla="*/ 3105117 h 6858000"/>
              <a:gd name="connsiteX1020" fmla="*/ 2493468 w 5242560"/>
              <a:gd name="connsiteY1020" fmla="*/ 3193768 h 6858000"/>
              <a:gd name="connsiteX1021" fmla="*/ 2368715 w 5242560"/>
              <a:gd name="connsiteY1021" fmla="*/ 3317611 h 6858000"/>
              <a:gd name="connsiteX1022" fmla="*/ 2275992 w 5242560"/>
              <a:gd name="connsiteY1022" fmla="*/ 3105117 h 6858000"/>
              <a:gd name="connsiteX1023" fmla="*/ 1322099 w 5242560"/>
              <a:gd name="connsiteY1023" fmla="*/ 3105063 h 6858000"/>
              <a:gd name="connsiteX1024" fmla="*/ 1539574 w 5242560"/>
              <a:gd name="connsiteY1024" fmla="*/ 3193715 h 6858000"/>
              <a:gd name="connsiteX1025" fmla="*/ 1414820 w 5242560"/>
              <a:gd name="connsiteY1025" fmla="*/ 3317558 h 6858000"/>
              <a:gd name="connsiteX1026" fmla="*/ 1322099 w 5242560"/>
              <a:gd name="connsiteY1026" fmla="*/ 3105063 h 6858000"/>
              <a:gd name="connsiteX1027" fmla="*/ 368097 w 5242560"/>
              <a:gd name="connsiteY1027" fmla="*/ 3105010 h 6858000"/>
              <a:gd name="connsiteX1028" fmla="*/ 585574 w 5242560"/>
              <a:gd name="connsiteY1028" fmla="*/ 3193661 h 6858000"/>
              <a:gd name="connsiteX1029" fmla="*/ 460819 w 5242560"/>
              <a:gd name="connsiteY1029" fmla="*/ 3317504 h 6858000"/>
              <a:gd name="connsiteX1030" fmla="*/ 368097 w 5242560"/>
              <a:gd name="connsiteY1030" fmla="*/ 3105010 h 6858000"/>
              <a:gd name="connsiteX1031" fmla="*/ 4870382 w 5242560"/>
              <a:gd name="connsiteY1031" fmla="*/ 3100671 h 6858000"/>
              <a:gd name="connsiteX1032" fmla="*/ 4781732 w 5242560"/>
              <a:gd name="connsiteY1032" fmla="*/ 3318147 h 6858000"/>
              <a:gd name="connsiteX1033" fmla="*/ 4657888 w 5242560"/>
              <a:gd name="connsiteY1033" fmla="*/ 3193392 h 6858000"/>
              <a:gd name="connsiteX1034" fmla="*/ 4870382 w 5242560"/>
              <a:gd name="connsiteY1034" fmla="*/ 3100671 h 6858000"/>
              <a:gd name="connsiteX1035" fmla="*/ 3916488 w 5242560"/>
              <a:gd name="connsiteY1035" fmla="*/ 3100617 h 6858000"/>
              <a:gd name="connsiteX1036" fmla="*/ 3827838 w 5242560"/>
              <a:gd name="connsiteY1036" fmla="*/ 3318094 h 6858000"/>
              <a:gd name="connsiteX1037" fmla="*/ 3703994 w 5242560"/>
              <a:gd name="connsiteY1037" fmla="*/ 3193339 h 6858000"/>
              <a:gd name="connsiteX1038" fmla="*/ 3916488 w 5242560"/>
              <a:gd name="connsiteY1038" fmla="*/ 3100617 h 6858000"/>
              <a:gd name="connsiteX1039" fmla="*/ 2962648 w 5242560"/>
              <a:gd name="connsiteY1039" fmla="*/ 3100565 h 6858000"/>
              <a:gd name="connsiteX1040" fmla="*/ 2873998 w 5242560"/>
              <a:gd name="connsiteY1040" fmla="*/ 3318040 h 6858000"/>
              <a:gd name="connsiteX1041" fmla="*/ 2750154 w 5242560"/>
              <a:gd name="connsiteY1041" fmla="*/ 3193286 h 6858000"/>
              <a:gd name="connsiteX1042" fmla="*/ 2962648 w 5242560"/>
              <a:gd name="connsiteY1042" fmla="*/ 3100565 h 6858000"/>
              <a:gd name="connsiteX1043" fmla="*/ 2008647 w 5242560"/>
              <a:gd name="connsiteY1043" fmla="*/ 3100511 h 6858000"/>
              <a:gd name="connsiteX1044" fmla="*/ 1919996 w 5242560"/>
              <a:gd name="connsiteY1044" fmla="*/ 3317986 h 6858000"/>
              <a:gd name="connsiteX1045" fmla="*/ 1796153 w 5242560"/>
              <a:gd name="connsiteY1045" fmla="*/ 3193233 h 6858000"/>
              <a:gd name="connsiteX1046" fmla="*/ 2008647 w 5242560"/>
              <a:gd name="connsiteY1046" fmla="*/ 3100511 h 6858000"/>
              <a:gd name="connsiteX1047" fmla="*/ 1054753 w 5242560"/>
              <a:gd name="connsiteY1047" fmla="*/ 3100457 h 6858000"/>
              <a:gd name="connsiteX1048" fmla="*/ 966102 w 5242560"/>
              <a:gd name="connsiteY1048" fmla="*/ 3317932 h 6858000"/>
              <a:gd name="connsiteX1049" fmla="*/ 842259 w 5242560"/>
              <a:gd name="connsiteY1049" fmla="*/ 3193179 h 6858000"/>
              <a:gd name="connsiteX1050" fmla="*/ 1054753 w 5242560"/>
              <a:gd name="connsiteY1050" fmla="*/ 3100457 h 6858000"/>
              <a:gd name="connsiteX1051" fmla="*/ 100806 w 5242560"/>
              <a:gd name="connsiteY1051" fmla="*/ 3100404 h 6858000"/>
              <a:gd name="connsiteX1052" fmla="*/ 12155 w 5242560"/>
              <a:gd name="connsiteY1052" fmla="*/ 3317879 h 6858000"/>
              <a:gd name="connsiteX1053" fmla="*/ 0 w 5242560"/>
              <a:gd name="connsiteY1053" fmla="*/ 3325462 h 6858000"/>
              <a:gd name="connsiteX1054" fmla="*/ 0 w 5242560"/>
              <a:gd name="connsiteY1054" fmla="*/ 3121294 h 6858000"/>
              <a:gd name="connsiteX1055" fmla="*/ 7796 w 5242560"/>
              <a:gd name="connsiteY1055" fmla="*/ 3117678 h 6858000"/>
              <a:gd name="connsiteX1056" fmla="*/ 100806 w 5242560"/>
              <a:gd name="connsiteY1056" fmla="*/ 3100404 h 6858000"/>
              <a:gd name="connsiteX1057" fmla="*/ 4396169 w 5242560"/>
              <a:gd name="connsiteY1057" fmla="*/ 2858545 h 6858000"/>
              <a:gd name="connsiteX1058" fmla="*/ 4453804 w 5242560"/>
              <a:gd name="connsiteY1058" fmla="*/ 2897444 h 6858000"/>
              <a:gd name="connsiteX1059" fmla="*/ 4496978 w 5242560"/>
              <a:gd name="connsiteY1059" fmla="*/ 3125204 h 6858000"/>
              <a:gd name="connsiteX1060" fmla="*/ 4304624 w 5242560"/>
              <a:gd name="connsiteY1060" fmla="*/ 2990486 h 6858000"/>
              <a:gd name="connsiteX1061" fmla="*/ 4304678 w 5242560"/>
              <a:gd name="connsiteY1061" fmla="*/ 2990486 h 6858000"/>
              <a:gd name="connsiteX1062" fmla="*/ 4396169 w 5242560"/>
              <a:gd name="connsiteY1062" fmla="*/ 2858545 h 6858000"/>
              <a:gd name="connsiteX1063" fmla="*/ 3442221 w 5242560"/>
              <a:gd name="connsiteY1063" fmla="*/ 2858492 h 6858000"/>
              <a:gd name="connsiteX1064" fmla="*/ 3499856 w 5242560"/>
              <a:gd name="connsiteY1064" fmla="*/ 2897390 h 6858000"/>
              <a:gd name="connsiteX1065" fmla="*/ 3543030 w 5242560"/>
              <a:gd name="connsiteY1065" fmla="*/ 3125150 h 6858000"/>
              <a:gd name="connsiteX1066" fmla="*/ 3350676 w 5242560"/>
              <a:gd name="connsiteY1066" fmla="*/ 2990434 h 6858000"/>
              <a:gd name="connsiteX1067" fmla="*/ 3350730 w 5242560"/>
              <a:gd name="connsiteY1067" fmla="*/ 2990434 h 6858000"/>
              <a:gd name="connsiteX1068" fmla="*/ 3442221 w 5242560"/>
              <a:gd name="connsiteY1068" fmla="*/ 2858492 h 6858000"/>
              <a:gd name="connsiteX1069" fmla="*/ 2488381 w 5242560"/>
              <a:gd name="connsiteY1069" fmla="*/ 2858438 h 6858000"/>
              <a:gd name="connsiteX1070" fmla="*/ 2546016 w 5242560"/>
              <a:gd name="connsiteY1070" fmla="*/ 2897337 h 6858000"/>
              <a:gd name="connsiteX1071" fmla="*/ 2589243 w 5242560"/>
              <a:gd name="connsiteY1071" fmla="*/ 3125097 h 6858000"/>
              <a:gd name="connsiteX1072" fmla="*/ 2396890 w 5242560"/>
              <a:gd name="connsiteY1072" fmla="*/ 2990380 h 6858000"/>
              <a:gd name="connsiteX1073" fmla="*/ 2488381 w 5242560"/>
              <a:gd name="connsiteY1073" fmla="*/ 2858438 h 6858000"/>
              <a:gd name="connsiteX1074" fmla="*/ 1534434 w 5242560"/>
              <a:gd name="connsiteY1074" fmla="*/ 2858384 h 6858000"/>
              <a:gd name="connsiteX1075" fmla="*/ 1592069 w 5242560"/>
              <a:gd name="connsiteY1075" fmla="*/ 2897283 h 6858000"/>
              <a:gd name="connsiteX1076" fmla="*/ 1635242 w 5242560"/>
              <a:gd name="connsiteY1076" fmla="*/ 3125043 h 6858000"/>
              <a:gd name="connsiteX1077" fmla="*/ 1442889 w 5242560"/>
              <a:gd name="connsiteY1077" fmla="*/ 2990326 h 6858000"/>
              <a:gd name="connsiteX1078" fmla="*/ 1442942 w 5242560"/>
              <a:gd name="connsiteY1078" fmla="*/ 2990326 h 6858000"/>
              <a:gd name="connsiteX1079" fmla="*/ 1534434 w 5242560"/>
              <a:gd name="connsiteY1079" fmla="*/ 2858384 h 6858000"/>
              <a:gd name="connsiteX1080" fmla="*/ 580433 w 5242560"/>
              <a:gd name="connsiteY1080" fmla="*/ 2858331 h 6858000"/>
              <a:gd name="connsiteX1081" fmla="*/ 638068 w 5242560"/>
              <a:gd name="connsiteY1081" fmla="*/ 2897229 h 6858000"/>
              <a:gd name="connsiteX1082" fmla="*/ 681295 w 5242560"/>
              <a:gd name="connsiteY1082" fmla="*/ 3124990 h 6858000"/>
              <a:gd name="connsiteX1083" fmla="*/ 488941 w 5242560"/>
              <a:gd name="connsiteY1083" fmla="*/ 2990273 h 6858000"/>
              <a:gd name="connsiteX1084" fmla="*/ 580433 w 5242560"/>
              <a:gd name="connsiteY1084" fmla="*/ 2858331 h 6858000"/>
              <a:gd name="connsiteX1085" fmla="*/ 4548294 w 5242560"/>
              <a:gd name="connsiteY1085" fmla="*/ 2802311 h 6858000"/>
              <a:gd name="connsiteX1086" fmla="*/ 4740646 w 5242560"/>
              <a:gd name="connsiteY1086" fmla="*/ 2937028 h 6858000"/>
              <a:gd name="connsiteX1087" fmla="*/ 4591520 w 5242560"/>
              <a:gd name="connsiteY1087" fmla="*/ 3030072 h 6858000"/>
              <a:gd name="connsiteX1088" fmla="*/ 4548294 w 5242560"/>
              <a:gd name="connsiteY1088" fmla="*/ 2802311 h 6858000"/>
              <a:gd name="connsiteX1089" fmla="*/ 3594452 w 5242560"/>
              <a:gd name="connsiteY1089" fmla="*/ 2802258 h 6858000"/>
              <a:gd name="connsiteX1090" fmla="*/ 3786806 w 5242560"/>
              <a:gd name="connsiteY1090" fmla="*/ 2936975 h 6858000"/>
              <a:gd name="connsiteX1091" fmla="*/ 3637680 w 5242560"/>
              <a:gd name="connsiteY1091" fmla="*/ 3030018 h 6858000"/>
              <a:gd name="connsiteX1092" fmla="*/ 3594452 w 5242560"/>
              <a:gd name="connsiteY1092" fmla="*/ 2802258 h 6858000"/>
              <a:gd name="connsiteX1093" fmla="*/ 2640559 w 5242560"/>
              <a:gd name="connsiteY1093" fmla="*/ 2802205 h 6858000"/>
              <a:gd name="connsiteX1094" fmla="*/ 2832859 w 5242560"/>
              <a:gd name="connsiteY1094" fmla="*/ 2936921 h 6858000"/>
              <a:gd name="connsiteX1095" fmla="*/ 2683733 w 5242560"/>
              <a:gd name="connsiteY1095" fmla="*/ 3029965 h 6858000"/>
              <a:gd name="connsiteX1096" fmla="*/ 2640559 w 5242560"/>
              <a:gd name="connsiteY1096" fmla="*/ 2802205 h 6858000"/>
              <a:gd name="connsiteX1097" fmla="*/ 1686665 w 5242560"/>
              <a:gd name="connsiteY1097" fmla="*/ 2802151 h 6858000"/>
              <a:gd name="connsiteX1098" fmla="*/ 1879018 w 5242560"/>
              <a:gd name="connsiteY1098" fmla="*/ 2936867 h 6858000"/>
              <a:gd name="connsiteX1099" fmla="*/ 1878964 w 5242560"/>
              <a:gd name="connsiteY1099" fmla="*/ 2936867 h 6858000"/>
              <a:gd name="connsiteX1100" fmla="*/ 1729839 w 5242560"/>
              <a:gd name="connsiteY1100" fmla="*/ 3029911 h 6858000"/>
              <a:gd name="connsiteX1101" fmla="*/ 1686665 w 5242560"/>
              <a:gd name="connsiteY1101" fmla="*/ 2802151 h 6858000"/>
              <a:gd name="connsiteX1102" fmla="*/ 732718 w 5242560"/>
              <a:gd name="connsiteY1102" fmla="*/ 2802098 h 6858000"/>
              <a:gd name="connsiteX1103" fmla="*/ 925071 w 5242560"/>
              <a:gd name="connsiteY1103" fmla="*/ 2936815 h 6858000"/>
              <a:gd name="connsiteX1104" fmla="*/ 775945 w 5242560"/>
              <a:gd name="connsiteY1104" fmla="*/ 3029857 h 6858000"/>
              <a:gd name="connsiteX1105" fmla="*/ 732718 w 5242560"/>
              <a:gd name="connsiteY1105" fmla="*/ 2802098 h 6858000"/>
              <a:gd name="connsiteX1106" fmla="*/ 5242560 w 5242560"/>
              <a:gd name="connsiteY1106" fmla="*/ 2603546 h 6858000"/>
              <a:gd name="connsiteX1107" fmla="*/ 5242560 w 5242560"/>
              <a:gd name="connsiteY1107" fmla="*/ 2807630 h 6858000"/>
              <a:gd name="connsiteX1108" fmla="*/ 5235183 w 5242560"/>
              <a:gd name="connsiteY1108" fmla="*/ 2811049 h 6858000"/>
              <a:gd name="connsiteX1109" fmla="*/ 5142174 w 5242560"/>
              <a:gd name="connsiteY1109" fmla="*/ 2828344 h 6858000"/>
              <a:gd name="connsiteX1110" fmla="*/ 5230824 w 5242560"/>
              <a:gd name="connsiteY1110" fmla="*/ 2610922 h 6858000"/>
              <a:gd name="connsiteX1111" fmla="*/ 5230824 w 5242560"/>
              <a:gd name="connsiteY1111" fmla="*/ 2610868 h 6858000"/>
              <a:gd name="connsiteX1112" fmla="*/ 0 w 5242560"/>
              <a:gd name="connsiteY1112" fmla="*/ 2603031 h 6858000"/>
              <a:gd name="connsiteX1113" fmla="*/ 12530 w 5242560"/>
              <a:gd name="connsiteY1113" fmla="*/ 2611029 h 6858000"/>
              <a:gd name="connsiteX1114" fmla="*/ 105252 w 5242560"/>
              <a:gd name="connsiteY1114" fmla="*/ 2823524 h 6858000"/>
              <a:gd name="connsiteX1115" fmla="*/ 33578 w 5242560"/>
              <a:gd name="connsiteY1115" fmla="*/ 2815253 h 6858000"/>
              <a:gd name="connsiteX1116" fmla="*/ 0 w 5242560"/>
              <a:gd name="connsiteY1116" fmla="*/ 2804460 h 6858000"/>
              <a:gd name="connsiteX1117" fmla="*/ 4342026 w 5242560"/>
              <a:gd name="connsiteY1117" fmla="*/ 2586310 h 6858000"/>
              <a:gd name="connsiteX1118" fmla="*/ 4400720 w 5242560"/>
              <a:gd name="connsiteY1118" fmla="*/ 2735569 h 6858000"/>
              <a:gd name="connsiteX1119" fmla="*/ 4188226 w 5242560"/>
              <a:gd name="connsiteY1119" fmla="*/ 2828290 h 6858000"/>
              <a:gd name="connsiteX1120" fmla="*/ 4276877 w 5242560"/>
              <a:gd name="connsiteY1120" fmla="*/ 2610868 h 6858000"/>
              <a:gd name="connsiteX1121" fmla="*/ 4276877 w 5242560"/>
              <a:gd name="connsiteY1121" fmla="*/ 2610815 h 6858000"/>
              <a:gd name="connsiteX1122" fmla="*/ 4342026 w 5242560"/>
              <a:gd name="connsiteY1122" fmla="*/ 2586310 h 6858000"/>
              <a:gd name="connsiteX1123" fmla="*/ 3388239 w 5242560"/>
              <a:gd name="connsiteY1123" fmla="*/ 2586256 h 6858000"/>
              <a:gd name="connsiteX1124" fmla="*/ 3446934 w 5242560"/>
              <a:gd name="connsiteY1124" fmla="*/ 2735515 h 6858000"/>
              <a:gd name="connsiteX1125" fmla="*/ 3234439 w 5242560"/>
              <a:gd name="connsiteY1125" fmla="*/ 2828237 h 6858000"/>
              <a:gd name="connsiteX1126" fmla="*/ 3323090 w 5242560"/>
              <a:gd name="connsiteY1126" fmla="*/ 2610815 h 6858000"/>
              <a:gd name="connsiteX1127" fmla="*/ 3323090 w 5242560"/>
              <a:gd name="connsiteY1127" fmla="*/ 2610762 h 6858000"/>
              <a:gd name="connsiteX1128" fmla="*/ 3388239 w 5242560"/>
              <a:gd name="connsiteY1128" fmla="*/ 2586256 h 6858000"/>
              <a:gd name="connsiteX1129" fmla="*/ 2434238 w 5242560"/>
              <a:gd name="connsiteY1129" fmla="*/ 2586203 h 6858000"/>
              <a:gd name="connsiteX1130" fmla="*/ 2492933 w 5242560"/>
              <a:gd name="connsiteY1130" fmla="*/ 2735461 h 6858000"/>
              <a:gd name="connsiteX1131" fmla="*/ 2280438 w 5242560"/>
              <a:gd name="connsiteY1131" fmla="*/ 2828183 h 6858000"/>
              <a:gd name="connsiteX1132" fmla="*/ 2369089 w 5242560"/>
              <a:gd name="connsiteY1132" fmla="*/ 2610762 h 6858000"/>
              <a:gd name="connsiteX1133" fmla="*/ 2369089 w 5242560"/>
              <a:gd name="connsiteY1133" fmla="*/ 2610708 h 6858000"/>
              <a:gd name="connsiteX1134" fmla="*/ 2434238 w 5242560"/>
              <a:gd name="connsiteY1134" fmla="*/ 2586203 h 6858000"/>
              <a:gd name="connsiteX1135" fmla="*/ 4717275 w 5242560"/>
              <a:gd name="connsiteY1135" fmla="*/ 2586175 h 6858000"/>
              <a:gd name="connsiteX1136" fmla="*/ 4782106 w 5242560"/>
              <a:gd name="connsiteY1136" fmla="*/ 2611297 h 6858000"/>
              <a:gd name="connsiteX1137" fmla="*/ 4874828 w 5242560"/>
              <a:gd name="connsiteY1137" fmla="*/ 2823791 h 6858000"/>
              <a:gd name="connsiteX1138" fmla="*/ 4657352 w 5242560"/>
              <a:gd name="connsiteY1138" fmla="*/ 2735141 h 6858000"/>
              <a:gd name="connsiteX1139" fmla="*/ 4717275 w 5242560"/>
              <a:gd name="connsiteY1139" fmla="*/ 2586175 h 6858000"/>
              <a:gd name="connsiteX1140" fmla="*/ 1480291 w 5242560"/>
              <a:gd name="connsiteY1140" fmla="*/ 2586149 h 6858000"/>
              <a:gd name="connsiteX1141" fmla="*/ 1538985 w 5242560"/>
              <a:gd name="connsiteY1141" fmla="*/ 2735408 h 6858000"/>
              <a:gd name="connsiteX1142" fmla="*/ 1326491 w 5242560"/>
              <a:gd name="connsiteY1142" fmla="*/ 2828129 h 6858000"/>
              <a:gd name="connsiteX1143" fmla="*/ 1415142 w 5242560"/>
              <a:gd name="connsiteY1143" fmla="*/ 2610708 h 6858000"/>
              <a:gd name="connsiteX1144" fmla="*/ 1415142 w 5242560"/>
              <a:gd name="connsiteY1144" fmla="*/ 2610654 h 6858000"/>
              <a:gd name="connsiteX1145" fmla="*/ 1480291 w 5242560"/>
              <a:gd name="connsiteY1145" fmla="*/ 2586149 h 6858000"/>
              <a:gd name="connsiteX1146" fmla="*/ 3763381 w 5242560"/>
              <a:gd name="connsiteY1146" fmla="*/ 2586121 h 6858000"/>
              <a:gd name="connsiteX1147" fmla="*/ 3828212 w 5242560"/>
              <a:gd name="connsiteY1147" fmla="*/ 2611244 h 6858000"/>
              <a:gd name="connsiteX1148" fmla="*/ 3920935 w 5242560"/>
              <a:gd name="connsiteY1148" fmla="*/ 2823737 h 6858000"/>
              <a:gd name="connsiteX1149" fmla="*/ 3703459 w 5242560"/>
              <a:gd name="connsiteY1149" fmla="*/ 2735087 h 6858000"/>
              <a:gd name="connsiteX1150" fmla="*/ 3763381 w 5242560"/>
              <a:gd name="connsiteY1150" fmla="*/ 2586121 h 6858000"/>
              <a:gd name="connsiteX1151" fmla="*/ 526397 w 5242560"/>
              <a:gd name="connsiteY1151" fmla="*/ 2586095 h 6858000"/>
              <a:gd name="connsiteX1152" fmla="*/ 585091 w 5242560"/>
              <a:gd name="connsiteY1152" fmla="*/ 2735354 h 6858000"/>
              <a:gd name="connsiteX1153" fmla="*/ 372597 w 5242560"/>
              <a:gd name="connsiteY1153" fmla="*/ 2828077 h 6858000"/>
              <a:gd name="connsiteX1154" fmla="*/ 461248 w 5242560"/>
              <a:gd name="connsiteY1154" fmla="*/ 2610654 h 6858000"/>
              <a:gd name="connsiteX1155" fmla="*/ 461248 w 5242560"/>
              <a:gd name="connsiteY1155" fmla="*/ 2610601 h 6858000"/>
              <a:gd name="connsiteX1156" fmla="*/ 526397 w 5242560"/>
              <a:gd name="connsiteY1156" fmla="*/ 2586095 h 6858000"/>
              <a:gd name="connsiteX1157" fmla="*/ 2809540 w 5242560"/>
              <a:gd name="connsiteY1157" fmla="*/ 2586068 h 6858000"/>
              <a:gd name="connsiteX1158" fmla="*/ 2874372 w 5242560"/>
              <a:gd name="connsiteY1158" fmla="*/ 2611190 h 6858000"/>
              <a:gd name="connsiteX1159" fmla="*/ 2967094 w 5242560"/>
              <a:gd name="connsiteY1159" fmla="*/ 2823684 h 6858000"/>
              <a:gd name="connsiteX1160" fmla="*/ 2749619 w 5242560"/>
              <a:gd name="connsiteY1160" fmla="*/ 2735033 h 6858000"/>
              <a:gd name="connsiteX1161" fmla="*/ 2809540 w 5242560"/>
              <a:gd name="connsiteY1161" fmla="*/ 2586068 h 6858000"/>
              <a:gd name="connsiteX1162" fmla="*/ 1855540 w 5242560"/>
              <a:gd name="connsiteY1162" fmla="*/ 2586014 h 6858000"/>
              <a:gd name="connsiteX1163" fmla="*/ 1920371 w 5242560"/>
              <a:gd name="connsiteY1163" fmla="*/ 2611136 h 6858000"/>
              <a:gd name="connsiteX1164" fmla="*/ 2013093 w 5242560"/>
              <a:gd name="connsiteY1164" fmla="*/ 2823631 h 6858000"/>
              <a:gd name="connsiteX1165" fmla="*/ 1795617 w 5242560"/>
              <a:gd name="connsiteY1165" fmla="*/ 2734980 h 6858000"/>
              <a:gd name="connsiteX1166" fmla="*/ 1855540 w 5242560"/>
              <a:gd name="connsiteY1166" fmla="*/ 2586014 h 6858000"/>
              <a:gd name="connsiteX1167" fmla="*/ 901646 w 5242560"/>
              <a:gd name="connsiteY1167" fmla="*/ 2585960 h 6858000"/>
              <a:gd name="connsiteX1168" fmla="*/ 966478 w 5242560"/>
              <a:gd name="connsiteY1168" fmla="*/ 2611083 h 6858000"/>
              <a:gd name="connsiteX1169" fmla="*/ 1059199 w 5242560"/>
              <a:gd name="connsiteY1169" fmla="*/ 2823577 h 6858000"/>
              <a:gd name="connsiteX1170" fmla="*/ 841723 w 5242560"/>
              <a:gd name="connsiteY1170" fmla="*/ 2734926 h 6858000"/>
              <a:gd name="connsiteX1171" fmla="*/ 901646 w 5242560"/>
              <a:gd name="connsiteY1171" fmla="*/ 2585960 h 6858000"/>
              <a:gd name="connsiteX1172" fmla="*/ 5137298 w 5242560"/>
              <a:gd name="connsiteY1172" fmla="*/ 2503867 h 6858000"/>
              <a:gd name="connsiteX1173" fmla="*/ 5176509 w 5242560"/>
              <a:gd name="connsiteY1173" fmla="*/ 2508826 h 6858000"/>
              <a:gd name="connsiteX1174" fmla="*/ 5041792 w 5242560"/>
              <a:gd name="connsiteY1174" fmla="*/ 2701179 h 6858000"/>
              <a:gd name="connsiteX1175" fmla="*/ 4948748 w 5242560"/>
              <a:gd name="connsiteY1175" fmla="*/ 2552054 h 6858000"/>
              <a:gd name="connsiteX1176" fmla="*/ 5137298 w 5242560"/>
              <a:gd name="connsiteY1176" fmla="*/ 2503867 h 6858000"/>
              <a:gd name="connsiteX1177" fmla="*/ 4183404 w 5242560"/>
              <a:gd name="connsiteY1177" fmla="*/ 2503814 h 6858000"/>
              <a:gd name="connsiteX1178" fmla="*/ 4222615 w 5242560"/>
              <a:gd name="connsiteY1178" fmla="*/ 2508773 h 6858000"/>
              <a:gd name="connsiteX1179" fmla="*/ 4087898 w 5242560"/>
              <a:gd name="connsiteY1179" fmla="*/ 2701127 h 6858000"/>
              <a:gd name="connsiteX1180" fmla="*/ 3994854 w 5242560"/>
              <a:gd name="connsiteY1180" fmla="*/ 2552001 h 6858000"/>
              <a:gd name="connsiteX1181" fmla="*/ 4183404 w 5242560"/>
              <a:gd name="connsiteY1181" fmla="*/ 2503814 h 6858000"/>
              <a:gd name="connsiteX1182" fmla="*/ 3229541 w 5242560"/>
              <a:gd name="connsiteY1182" fmla="*/ 2503760 h 6858000"/>
              <a:gd name="connsiteX1183" fmla="*/ 3268775 w 5242560"/>
              <a:gd name="connsiteY1183" fmla="*/ 2508719 h 6858000"/>
              <a:gd name="connsiteX1184" fmla="*/ 3134058 w 5242560"/>
              <a:gd name="connsiteY1184" fmla="*/ 2701073 h 6858000"/>
              <a:gd name="connsiteX1185" fmla="*/ 3041014 w 5242560"/>
              <a:gd name="connsiteY1185" fmla="*/ 2551947 h 6858000"/>
              <a:gd name="connsiteX1186" fmla="*/ 3229541 w 5242560"/>
              <a:gd name="connsiteY1186" fmla="*/ 2503760 h 6858000"/>
              <a:gd name="connsiteX1187" fmla="*/ 2275563 w 5242560"/>
              <a:gd name="connsiteY1187" fmla="*/ 2503706 h 6858000"/>
              <a:gd name="connsiteX1188" fmla="*/ 2314774 w 5242560"/>
              <a:gd name="connsiteY1188" fmla="*/ 2508665 h 6858000"/>
              <a:gd name="connsiteX1189" fmla="*/ 2180056 w 5242560"/>
              <a:gd name="connsiteY1189" fmla="*/ 2701019 h 6858000"/>
              <a:gd name="connsiteX1190" fmla="*/ 2087013 w 5242560"/>
              <a:gd name="connsiteY1190" fmla="*/ 2551893 h 6858000"/>
              <a:gd name="connsiteX1191" fmla="*/ 2275563 w 5242560"/>
              <a:gd name="connsiteY1191" fmla="*/ 2503706 h 6858000"/>
              <a:gd name="connsiteX1192" fmla="*/ 1321669 w 5242560"/>
              <a:gd name="connsiteY1192" fmla="*/ 2503653 h 6858000"/>
              <a:gd name="connsiteX1193" fmla="*/ 1360880 w 5242560"/>
              <a:gd name="connsiteY1193" fmla="*/ 2508612 h 6858000"/>
              <a:gd name="connsiteX1194" fmla="*/ 1226163 w 5242560"/>
              <a:gd name="connsiteY1194" fmla="*/ 2700966 h 6858000"/>
              <a:gd name="connsiteX1195" fmla="*/ 1133119 w 5242560"/>
              <a:gd name="connsiteY1195" fmla="*/ 2551840 h 6858000"/>
              <a:gd name="connsiteX1196" fmla="*/ 1321669 w 5242560"/>
              <a:gd name="connsiteY1196" fmla="*/ 2503653 h 6858000"/>
              <a:gd name="connsiteX1197" fmla="*/ 367700 w 5242560"/>
              <a:gd name="connsiteY1197" fmla="*/ 2503599 h 6858000"/>
              <a:gd name="connsiteX1198" fmla="*/ 406933 w 5242560"/>
              <a:gd name="connsiteY1198" fmla="*/ 2508558 h 6858000"/>
              <a:gd name="connsiteX1199" fmla="*/ 272216 w 5242560"/>
              <a:gd name="connsiteY1199" fmla="*/ 2700912 h 6858000"/>
              <a:gd name="connsiteX1200" fmla="*/ 179172 w 5242560"/>
              <a:gd name="connsiteY1200" fmla="*/ 2551786 h 6858000"/>
              <a:gd name="connsiteX1201" fmla="*/ 367700 w 5242560"/>
              <a:gd name="connsiteY1201" fmla="*/ 2503599 h 6858000"/>
              <a:gd name="connsiteX1202" fmla="*/ 799412 w 5242560"/>
              <a:gd name="connsiteY1202" fmla="*/ 2346066 h 6858000"/>
              <a:gd name="connsiteX1203" fmla="*/ 856561 w 5242560"/>
              <a:gd name="connsiteY1203" fmla="*/ 2507648 h 6858000"/>
              <a:gd name="connsiteX1204" fmla="*/ 628800 w 5242560"/>
              <a:gd name="connsiteY1204" fmla="*/ 2550875 h 6858000"/>
              <a:gd name="connsiteX1205" fmla="*/ 763518 w 5242560"/>
              <a:gd name="connsiteY1205" fmla="*/ 2358522 h 6858000"/>
              <a:gd name="connsiteX1206" fmla="*/ 799412 w 5242560"/>
              <a:gd name="connsiteY1206" fmla="*/ 2346066 h 6858000"/>
              <a:gd name="connsiteX1207" fmla="*/ 1753359 w 5242560"/>
              <a:gd name="connsiteY1207" fmla="*/ 2346012 h 6858000"/>
              <a:gd name="connsiteX1208" fmla="*/ 1810508 w 5242560"/>
              <a:gd name="connsiteY1208" fmla="*/ 2507594 h 6858000"/>
              <a:gd name="connsiteX1209" fmla="*/ 1582748 w 5242560"/>
              <a:gd name="connsiteY1209" fmla="*/ 2550821 h 6858000"/>
              <a:gd name="connsiteX1210" fmla="*/ 1717465 w 5242560"/>
              <a:gd name="connsiteY1210" fmla="*/ 2358468 h 6858000"/>
              <a:gd name="connsiteX1211" fmla="*/ 1753359 w 5242560"/>
              <a:gd name="connsiteY1211" fmla="*/ 2346012 h 6858000"/>
              <a:gd name="connsiteX1212" fmla="*/ 2707360 w 5242560"/>
              <a:gd name="connsiteY1212" fmla="*/ 2345959 h 6858000"/>
              <a:gd name="connsiteX1213" fmla="*/ 2764510 w 5242560"/>
              <a:gd name="connsiteY1213" fmla="*/ 2507541 h 6858000"/>
              <a:gd name="connsiteX1214" fmla="*/ 2536750 w 5242560"/>
              <a:gd name="connsiteY1214" fmla="*/ 2550769 h 6858000"/>
              <a:gd name="connsiteX1215" fmla="*/ 2671466 w 5242560"/>
              <a:gd name="connsiteY1215" fmla="*/ 2358414 h 6858000"/>
              <a:gd name="connsiteX1216" fmla="*/ 2707360 w 5242560"/>
              <a:gd name="connsiteY1216" fmla="*/ 2345959 h 6858000"/>
              <a:gd name="connsiteX1217" fmla="*/ 3661362 w 5242560"/>
              <a:gd name="connsiteY1217" fmla="*/ 2345905 h 6858000"/>
              <a:gd name="connsiteX1218" fmla="*/ 3718510 w 5242560"/>
              <a:gd name="connsiteY1218" fmla="*/ 2507487 h 6858000"/>
              <a:gd name="connsiteX1219" fmla="*/ 3490750 w 5242560"/>
              <a:gd name="connsiteY1219" fmla="*/ 2550715 h 6858000"/>
              <a:gd name="connsiteX1220" fmla="*/ 3625467 w 5242560"/>
              <a:gd name="connsiteY1220" fmla="*/ 2358361 h 6858000"/>
              <a:gd name="connsiteX1221" fmla="*/ 3661362 w 5242560"/>
              <a:gd name="connsiteY1221" fmla="*/ 2345905 h 6858000"/>
              <a:gd name="connsiteX1222" fmla="*/ 4615202 w 5242560"/>
              <a:gd name="connsiteY1222" fmla="*/ 2345851 h 6858000"/>
              <a:gd name="connsiteX1223" fmla="*/ 4672350 w 5242560"/>
              <a:gd name="connsiteY1223" fmla="*/ 2507433 h 6858000"/>
              <a:gd name="connsiteX1224" fmla="*/ 4444591 w 5242560"/>
              <a:gd name="connsiteY1224" fmla="*/ 2550661 h 6858000"/>
              <a:gd name="connsiteX1225" fmla="*/ 4579307 w 5242560"/>
              <a:gd name="connsiteY1225" fmla="*/ 2358307 h 6858000"/>
              <a:gd name="connsiteX1226" fmla="*/ 4615202 w 5242560"/>
              <a:gd name="connsiteY1226" fmla="*/ 2345851 h 6858000"/>
              <a:gd name="connsiteX1227" fmla="*/ 5242560 w 5242560"/>
              <a:gd name="connsiteY1227" fmla="*/ 2292058 h 6858000"/>
              <a:gd name="connsiteX1228" fmla="*/ 5242560 w 5242560"/>
              <a:gd name="connsiteY1228" fmla="*/ 2463376 h 6858000"/>
              <a:gd name="connsiteX1229" fmla="*/ 5234866 w 5242560"/>
              <a:gd name="connsiteY1229" fmla="*/ 2461242 h 6858000"/>
              <a:gd name="connsiteX1230" fmla="*/ 5207042 w 5242560"/>
              <a:gd name="connsiteY1230" fmla="*/ 2320544 h 6858000"/>
              <a:gd name="connsiteX1231" fmla="*/ 0 w 5242560"/>
              <a:gd name="connsiteY1231" fmla="*/ 2236961 h 6858000"/>
              <a:gd name="connsiteX1232" fmla="*/ 34709 w 5242560"/>
              <a:gd name="connsiteY1232" fmla="*/ 2240966 h 6858000"/>
              <a:gd name="connsiteX1233" fmla="*/ 180511 w 5242560"/>
              <a:gd name="connsiteY1233" fmla="*/ 2321347 h 6858000"/>
              <a:gd name="connsiteX1234" fmla="*/ 55757 w 5242560"/>
              <a:gd name="connsiteY1234" fmla="*/ 2445191 h 6858000"/>
              <a:gd name="connsiteX1235" fmla="*/ 8269 w 5242560"/>
              <a:gd name="connsiteY1235" fmla="*/ 2385978 h 6858000"/>
              <a:gd name="connsiteX1236" fmla="*/ 0 w 5242560"/>
              <a:gd name="connsiteY1236" fmla="*/ 2368140 h 6858000"/>
              <a:gd name="connsiteX1237" fmla="*/ 917090 w 5242560"/>
              <a:gd name="connsiteY1237" fmla="*/ 2232642 h 6858000"/>
              <a:gd name="connsiteX1238" fmla="*/ 1134566 w 5242560"/>
              <a:gd name="connsiteY1238" fmla="*/ 2321294 h 6858000"/>
              <a:gd name="connsiteX1239" fmla="*/ 1009812 w 5242560"/>
              <a:gd name="connsiteY1239" fmla="*/ 2445137 h 6858000"/>
              <a:gd name="connsiteX1240" fmla="*/ 917090 w 5242560"/>
              <a:gd name="connsiteY1240" fmla="*/ 2232642 h 6858000"/>
              <a:gd name="connsiteX1241" fmla="*/ 1871037 w 5242560"/>
              <a:gd name="connsiteY1241" fmla="*/ 2232589 h 6858000"/>
              <a:gd name="connsiteX1242" fmla="*/ 2088513 w 5242560"/>
              <a:gd name="connsiteY1242" fmla="*/ 2321240 h 6858000"/>
              <a:gd name="connsiteX1243" fmla="*/ 1963759 w 5242560"/>
              <a:gd name="connsiteY1243" fmla="*/ 2445084 h 6858000"/>
              <a:gd name="connsiteX1244" fmla="*/ 1871037 w 5242560"/>
              <a:gd name="connsiteY1244" fmla="*/ 2232589 h 6858000"/>
              <a:gd name="connsiteX1245" fmla="*/ 2824984 w 5242560"/>
              <a:gd name="connsiteY1245" fmla="*/ 2232535 h 6858000"/>
              <a:gd name="connsiteX1246" fmla="*/ 3042461 w 5242560"/>
              <a:gd name="connsiteY1246" fmla="*/ 2321186 h 6858000"/>
              <a:gd name="connsiteX1247" fmla="*/ 2917707 w 5242560"/>
              <a:gd name="connsiteY1247" fmla="*/ 2445030 h 6858000"/>
              <a:gd name="connsiteX1248" fmla="*/ 2824984 w 5242560"/>
              <a:gd name="connsiteY1248" fmla="*/ 2232535 h 6858000"/>
              <a:gd name="connsiteX1249" fmla="*/ 3778986 w 5242560"/>
              <a:gd name="connsiteY1249" fmla="*/ 2232482 h 6858000"/>
              <a:gd name="connsiteX1250" fmla="*/ 3996462 w 5242560"/>
              <a:gd name="connsiteY1250" fmla="*/ 2321133 h 6858000"/>
              <a:gd name="connsiteX1251" fmla="*/ 3871708 w 5242560"/>
              <a:gd name="connsiteY1251" fmla="*/ 2444976 h 6858000"/>
              <a:gd name="connsiteX1252" fmla="*/ 3778986 w 5242560"/>
              <a:gd name="connsiteY1252" fmla="*/ 2232482 h 6858000"/>
              <a:gd name="connsiteX1253" fmla="*/ 4732933 w 5242560"/>
              <a:gd name="connsiteY1253" fmla="*/ 2232428 h 6858000"/>
              <a:gd name="connsiteX1254" fmla="*/ 4950356 w 5242560"/>
              <a:gd name="connsiteY1254" fmla="*/ 2321079 h 6858000"/>
              <a:gd name="connsiteX1255" fmla="*/ 4950409 w 5242560"/>
              <a:gd name="connsiteY1255" fmla="*/ 2321079 h 6858000"/>
              <a:gd name="connsiteX1256" fmla="*/ 4825654 w 5242560"/>
              <a:gd name="connsiteY1256" fmla="*/ 2444922 h 6858000"/>
              <a:gd name="connsiteX1257" fmla="*/ 4732933 w 5242560"/>
              <a:gd name="connsiteY1257" fmla="*/ 2232428 h 6858000"/>
              <a:gd name="connsiteX1258" fmla="*/ 649745 w 5242560"/>
              <a:gd name="connsiteY1258" fmla="*/ 2228089 h 6858000"/>
              <a:gd name="connsiteX1259" fmla="*/ 561094 w 5242560"/>
              <a:gd name="connsiteY1259" fmla="*/ 2445512 h 6858000"/>
              <a:gd name="connsiteX1260" fmla="*/ 561094 w 5242560"/>
              <a:gd name="connsiteY1260" fmla="*/ 2445566 h 6858000"/>
              <a:gd name="connsiteX1261" fmla="*/ 437251 w 5242560"/>
              <a:gd name="connsiteY1261" fmla="*/ 2320812 h 6858000"/>
              <a:gd name="connsiteX1262" fmla="*/ 649745 w 5242560"/>
              <a:gd name="connsiteY1262" fmla="*/ 2228089 h 6858000"/>
              <a:gd name="connsiteX1263" fmla="*/ 1603692 w 5242560"/>
              <a:gd name="connsiteY1263" fmla="*/ 2228036 h 6858000"/>
              <a:gd name="connsiteX1264" fmla="*/ 1515042 w 5242560"/>
              <a:gd name="connsiteY1264" fmla="*/ 2445458 h 6858000"/>
              <a:gd name="connsiteX1265" fmla="*/ 1515042 w 5242560"/>
              <a:gd name="connsiteY1265" fmla="*/ 2445512 h 6858000"/>
              <a:gd name="connsiteX1266" fmla="*/ 1391198 w 5242560"/>
              <a:gd name="connsiteY1266" fmla="*/ 2320758 h 6858000"/>
              <a:gd name="connsiteX1267" fmla="*/ 1603692 w 5242560"/>
              <a:gd name="connsiteY1267" fmla="*/ 2228036 h 6858000"/>
              <a:gd name="connsiteX1268" fmla="*/ 2557639 w 5242560"/>
              <a:gd name="connsiteY1268" fmla="*/ 2227983 h 6858000"/>
              <a:gd name="connsiteX1269" fmla="*/ 2468989 w 5242560"/>
              <a:gd name="connsiteY1269" fmla="*/ 2445405 h 6858000"/>
              <a:gd name="connsiteX1270" fmla="*/ 2468989 w 5242560"/>
              <a:gd name="connsiteY1270" fmla="*/ 2445458 h 6858000"/>
              <a:gd name="connsiteX1271" fmla="*/ 2345146 w 5242560"/>
              <a:gd name="connsiteY1271" fmla="*/ 2320705 h 6858000"/>
              <a:gd name="connsiteX1272" fmla="*/ 2557639 w 5242560"/>
              <a:gd name="connsiteY1272" fmla="*/ 2227983 h 6858000"/>
              <a:gd name="connsiteX1273" fmla="*/ 3511642 w 5242560"/>
              <a:gd name="connsiteY1273" fmla="*/ 2227930 h 6858000"/>
              <a:gd name="connsiteX1274" fmla="*/ 3422990 w 5242560"/>
              <a:gd name="connsiteY1274" fmla="*/ 2445351 h 6858000"/>
              <a:gd name="connsiteX1275" fmla="*/ 3422990 w 5242560"/>
              <a:gd name="connsiteY1275" fmla="*/ 2445405 h 6858000"/>
              <a:gd name="connsiteX1276" fmla="*/ 3299146 w 5242560"/>
              <a:gd name="connsiteY1276" fmla="*/ 2320651 h 6858000"/>
              <a:gd name="connsiteX1277" fmla="*/ 3511642 w 5242560"/>
              <a:gd name="connsiteY1277" fmla="*/ 2227930 h 6858000"/>
              <a:gd name="connsiteX1278" fmla="*/ 4465642 w 5242560"/>
              <a:gd name="connsiteY1278" fmla="*/ 2227876 h 6858000"/>
              <a:gd name="connsiteX1279" fmla="*/ 4376991 w 5242560"/>
              <a:gd name="connsiteY1279" fmla="*/ 2445298 h 6858000"/>
              <a:gd name="connsiteX1280" fmla="*/ 4376991 w 5242560"/>
              <a:gd name="connsiteY1280" fmla="*/ 2445351 h 6858000"/>
              <a:gd name="connsiteX1281" fmla="*/ 4253148 w 5242560"/>
              <a:gd name="connsiteY1281" fmla="*/ 2320597 h 6858000"/>
              <a:gd name="connsiteX1282" fmla="*/ 4465642 w 5242560"/>
              <a:gd name="connsiteY1282" fmla="*/ 2227876 h 6858000"/>
              <a:gd name="connsiteX1283" fmla="*/ 175371 w 5242560"/>
              <a:gd name="connsiteY1283" fmla="*/ 1986017 h 6858000"/>
              <a:gd name="connsiteX1284" fmla="*/ 233006 w 5242560"/>
              <a:gd name="connsiteY1284" fmla="*/ 2024916 h 6858000"/>
              <a:gd name="connsiteX1285" fmla="*/ 276232 w 5242560"/>
              <a:gd name="connsiteY1285" fmla="*/ 2252676 h 6858000"/>
              <a:gd name="connsiteX1286" fmla="*/ 83879 w 5242560"/>
              <a:gd name="connsiteY1286" fmla="*/ 2117960 h 6858000"/>
              <a:gd name="connsiteX1287" fmla="*/ 175371 w 5242560"/>
              <a:gd name="connsiteY1287" fmla="*/ 1986017 h 6858000"/>
              <a:gd name="connsiteX1288" fmla="*/ 1129426 w 5242560"/>
              <a:gd name="connsiteY1288" fmla="*/ 1985964 h 6858000"/>
              <a:gd name="connsiteX1289" fmla="*/ 1187060 w 5242560"/>
              <a:gd name="connsiteY1289" fmla="*/ 2024862 h 6858000"/>
              <a:gd name="connsiteX1290" fmla="*/ 1230233 w 5242560"/>
              <a:gd name="connsiteY1290" fmla="*/ 2252623 h 6858000"/>
              <a:gd name="connsiteX1291" fmla="*/ 1037934 w 5242560"/>
              <a:gd name="connsiteY1291" fmla="*/ 2117906 h 6858000"/>
              <a:gd name="connsiteX1292" fmla="*/ 1129426 w 5242560"/>
              <a:gd name="connsiteY1292" fmla="*/ 1985964 h 6858000"/>
              <a:gd name="connsiteX1293" fmla="*/ 2083373 w 5242560"/>
              <a:gd name="connsiteY1293" fmla="*/ 1985910 h 6858000"/>
              <a:gd name="connsiteX1294" fmla="*/ 2141008 w 5242560"/>
              <a:gd name="connsiteY1294" fmla="*/ 2024808 h 6858000"/>
              <a:gd name="connsiteX1295" fmla="*/ 2184235 w 5242560"/>
              <a:gd name="connsiteY1295" fmla="*/ 2252569 h 6858000"/>
              <a:gd name="connsiteX1296" fmla="*/ 1991881 w 5242560"/>
              <a:gd name="connsiteY1296" fmla="*/ 2117852 h 6858000"/>
              <a:gd name="connsiteX1297" fmla="*/ 2083373 w 5242560"/>
              <a:gd name="connsiteY1297" fmla="*/ 1985910 h 6858000"/>
              <a:gd name="connsiteX1298" fmla="*/ 3037374 w 5242560"/>
              <a:gd name="connsiteY1298" fmla="*/ 1985856 h 6858000"/>
              <a:gd name="connsiteX1299" fmla="*/ 3095008 w 5242560"/>
              <a:gd name="connsiteY1299" fmla="*/ 2024755 h 6858000"/>
              <a:gd name="connsiteX1300" fmla="*/ 3138235 w 5242560"/>
              <a:gd name="connsiteY1300" fmla="*/ 2252516 h 6858000"/>
              <a:gd name="connsiteX1301" fmla="*/ 2945882 w 5242560"/>
              <a:gd name="connsiteY1301" fmla="*/ 2117799 h 6858000"/>
              <a:gd name="connsiteX1302" fmla="*/ 3037374 w 5242560"/>
              <a:gd name="connsiteY1302" fmla="*/ 1985856 h 6858000"/>
              <a:gd name="connsiteX1303" fmla="*/ 3991375 w 5242560"/>
              <a:gd name="connsiteY1303" fmla="*/ 1985803 h 6858000"/>
              <a:gd name="connsiteX1304" fmla="*/ 4049010 w 5242560"/>
              <a:gd name="connsiteY1304" fmla="*/ 2024701 h 6858000"/>
              <a:gd name="connsiteX1305" fmla="*/ 4092236 w 5242560"/>
              <a:gd name="connsiteY1305" fmla="*/ 2252462 h 6858000"/>
              <a:gd name="connsiteX1306" fmla="*/ 3899884 w 5242560"/>
              <a:gd name="connsiteY1306" fmla="*/ 2117745 h 6858000"/>
              <a:gd name="connsiteX1307" fmla="*/ 3991375 w 5242560"/>
              <a:gd name="connsiteY1307" fmla="*/ 1985803 h 6858000"/>
              <a:gd name="connsiteX1308" fmla="*/ 4945215 w 5242560"/>
              <a:gd name="connsiteY1308" fmla="*/ 1985749 h 6858000"/>
              <a:gd name="connsiteX1309" fmla="*/ 5002850 w 5242560"/>
              <a:gd name="connsiteY1309" fmla="*/ 2024648 h 6858000"/>
              <a:gd name="connsiteX1310" fmla="*/ 5046024 w 5242560"/>
              <a:gd name="connsiteY1310" fmla="*/ 2252408 h 6858000"/>
              <a:gd name="connsiteX1311" fmla="*/ 4853670 w 5242560"/>
              <a:gd name="connsiteY1311" fmla="*/ 2117691 h 6858000"/>
              <a:gd name="connsiteX1312" fmla="*/ 4853724 w 5242560"/>
              <a:gd name="connsiteY1312" fmla="*/ 2117691 h 6858000"/>
              <a:gd name="connsiteX1313" fmla="*/ 4945215 w 5242560"/>
              <a:gd name="connsiteY1313" fmla="*/ 1985749 h 6858000"/>
              <a:gd name="connsiteX1314" fmla="*/ 327709 w 5242560"/>
              <a:gd name="connsiteY1314" fmla="*/ 1929677 h 6858000"/>
              <a:gd name="connsiteX1315" fmla="*/ 520063 w 5242560"/>
              <a:gd name="connsiteY1315" fmla="*/ 2064393 h 6858000"/>
              <a:gd name="connsiteX1316" fmla="*/ 370937 w 5242560"/>
              <a:gd name="connsiteY1316" fmla="*/ 2157437 h 6858000"/>
              <a:gd name="connsiteX1317" fmla="*/ 327709 w 5242560"/>
              <a:gd name="connsiteY1317" fmla="*/ 1929677 h 6858000"/>
              <a:gd name="connsiteX1318" fmla="*/ 1281657 w 5242560"/>
              <a:gd name="connsiteY1318" fmla="*/ 1929623 h 6858000"/>
              <a:gd name="connsiteX1319" fmla="*/ 1474010 w 5242560"/>
              <a:gd name="connsiteY1319" fmla="*/ 2064339 h 6858000"/>
              <a:gd name="connsiteX1320" fmla="*/ 1324884 w 5242560"/>
              <a:gd name="connsiteY1320" fmla="*/ 2157383 h 6858000"/>
              <a:gd name="connsiteX1321" fmla="*/ 1281657 w 5242560"/>
              <a:gd name="connsiteY1321" fmla="*/ 1929623 h 6858000"/>
              <a:gd name="connsiteX1322" fmla="*/ 2235658 w 5242560"/>
              <a:gd name="connsiteY1322" fmla="*/ 1929569 h 6858000"/>
              <a:gd name="connsiteX1323" fmla="*/ 2428010 w 5242560"/>
              <a:gd name="connsiteY1323" fmla="*/ 2064287 h 6858000"/>
              <a:gd name="connsiteX1324" fmla="*/ 2427958 w 5242560"/>
              <a:gd name="connsiteY1324" fmla="*/ 2064287 h 6858000"/>
              <a:gd name="connsiteX1325" fmla="*/ 2278832 w 5242560"/>
              <a:gd name="connsiteY1325" fmla="*/ 2157329 h 6858000"/>
              <a:gd name="connsiteX1326" fmla="*/ 2235658 w 5242560"/>
              <a:gd name="connsiteY1326" fmla="*/ 1929569 h 6858000"/>
              <a:gd name="connsiteX1327" fmla="*/ 3189658 w 5242560"/>
              <a:gd name="connsiteY1327" fmla="*/ 1929516 h 6858000"/>
              <a:gd name="connsiteX1328" fmla="*/ 3382012 w 5242560"/>
              <a:gd name="connsiteY1328" fmla="*/ 2064233 h 6858000"/>
              <a:gd name="connsiteX1329" fmla="*/ 3381959 w 5242560"/>
              <a:gd name="connsiteY1329" fmla="*/ 2064233 h 6858000"/>
              <a:gd name="connsiteX1330" fmla="*/ 3232832 w 5242560"/>
              <a:gd name="connsiteY1330" fmla="*/ 2157276 h 6858000"/>
              <a:gd name="connsiteX1331" fmla="*/ 3189658 w 5242560"/>
              <a:gd name="connsiteY1331" fmla="*/ 1929516 h 6858000"/>
              <a:gd name="connsiteX1332" fmla="*/ 4143552 w 5242560"/>
              <a:gd name="connsiteY1332" fmla="*/ 1929462 h 6858000"/>
              <a:gd name="connsiteX1333" fmla="*/ 4335853 w 5242560"/>
              <a:gd name="connsiteY1333" fmla="*/ 2064179 h 6858000"/>
              <a:gd name="connsiteX1334" fmla="*/ 4186726 w 5242560"/>
              <a:gd name="connsiteY1334" fmla="*/ 2157223 h 6858000"/>
              <a:gd name="connsiteX1335" fmla="*/ 4143552 w 5242560"/>
              <a:gd name="connsiteY1335" fmla="*/ 1929462 h 6858000"/>
              <a:gd name="connsiteX1336" fmla="*/ 5097500 w 5242560"/>
              <a:gd name="connsiteY1336" fmla="*/ 1929408 h 6858000"/>
              <a:gd name="connsiteX1337" fmla="*/ 5219188 w 5242560"/>
              <a:gd name="connsiteY1337" fmla="*/ 1985177 h 6858000"/>
              <a:gd name="connsiteX1338" fmla="*/ 5242560 w 5242560"/>
              <a:gd name="connsiteY1338" fmla="*/ 2006664 h 6858000"/>
              <a:gd name="connsiteX1339" fmla="*/ 5242560 w 5242560"/>
              <a:gd name="connsiteY1339" fmla="*/ 2189776 h 6858000"/>
              <a:gd name="connsiteX1340" fmla="*/ 5230330 w 5242560"/>
              <a:gd name="connsiteY1340" fmla="*/ 2194836 h 6858000"/>
              <a:gd name="connsiteX1341" fmla="*/ 5140728 w 5242560"/>
              <a:gd name="connsiteY1341" fmla="*/ 2157169 h 6858000"/>
              <a:gd name="connsiteX1342" fmla="*/ 5097500 w 5242560"/>
              <a:gd name="connsiteY1342" fmla="*/ 1929408 h 6858000"/>
              <a:gd name="connsiteX1343" fmla="*/ 5242560 w 5242560"/>
              <a:gd name="connsiteY1343" fmla="*/ 1719724 h 6858000"/>
              <a:gd name="connsiteX1344" fmla="*/ 5242560 w 5242560"/>
              <a:gd name="connsiteY1344" fmla="*/ 1894103 h 6858000"/>
              <a:gd name="connsiteX1345" fmla="*/ 5206506 w 5242560"/>
              <a:gd name="connsiteY1345" fmla="*/ 1862291 h 6858000"/>
              <a:gd name="connsiteX1346" fmla="*/ 5206452 w 5242560"/>
              <a:gd name="connsiteY1346" fmla="*/ 1862291 h 6858000"/>
              <a:gd name="connsiteX1347" fmla="*/ 5235478 w 5242560"/>
              <a:gd name="connsiteY1347" fmla="*/ 1721627 h 6858000"/>
              <a:gd name="connsiteX1348" fmla="*/ 121335 w 5242560"/>
              <a:gd name="connsiteY1348" fmla="*/ 1713888 h 6858000"/>
              <a:gd name="connsiteX1349" fmla="*/ 180029 w 5242560"/>
              <a:gd name="connsiteY1349" fmla="*/ 1863148 h 6858000"/>
              <a:gd name="connsiteX1350" fmla="*/ 6891 w 5242560"/>
              <a:gd name="connsiteY1350" fmla="*/ 1951981 h 6858000"/>
              <a:gd name="connsiteX1351" fmla="*/ 0 w 5242560"/>
              <a:gd name="connsiteY1351" fmla="*/ 1952662 h 6858000"/>
              <a:gd name="connsiteX1352" fmla="*/ 0 w 5242560"/>
              <a:gd name="connsiteY1352" fmla="*/ 1815893 h 6858000"/>
              <a:gd name="connsiteX1353" fmla="*/ 22456 w 5242560"/>
              <a:gd name="connsiteY1353" fmla="*/ 1776623 h 6858000"/>
              <a:gd name="connsiteX1354" fmla="*/ 56186 w 5242560"/>
              <a:gd name="connsiteY1354" fmla="*/ 1738394 h 6858000"/>
              <a:gd name="connsiteX1355" fmla="*/ 121335 w 5242560"/>
              <a:gd name="connsiteY1355" fmla="*/ 1713888 h 6858000"/>
              <a:gd name="connsiteX1356" fmla="*/ 1075229 w 5242560"/>
              <a:gd name="connsiteY1356" fmla="*/ 1713835 h 6858000"/>
              <a:gd name="connsiteX1357" fmla="*/ 1133923 w 5242560"/>
              <a:gd name="connsiteY1357" fmla="*/ 1863094 h 6858000"/>
              <a:gd name="connsiteX1358" fmla="*/ 921429 w 5242560"/>
              <a:gd name="connsiteY1358" fmla="*/ 1955816 h 6858000"/>
              <a:gd name="connsiteX1359" fmla="*/ 1010080 w 5242560"/>
              <a:gd name="connsiteY1359" fmla="*/ 1738340 h 6858000"/>
              <a:gd name="connsiteX1360" fmla="*/ 1075229 w 5242560"/>
              <a:gd name="connsiteY1360" fmla="*/ 1713835 h 6858000"/>
              <a:gd name="connsiteX1361" fmla="*/ 2029283 w 5242560"/>
              <a:gd name="connsiteY1361" fmla="*/ 1713781 h 6858000"/>
              <a:gd name="connsiteX1362" fmla="*/ 2087978 w 5242560"/>
              <a:gd name="connsiteY1362" fmla="*/ 1863041 h 6858000"/>
              <a:gd name="connsiteX1363" fmla="*/ 1875483 w 5242560"/>
              <a:gd name="connsiteY1363" fmla="*/ 1955762 h 6858000"/>
              <a:gd name="connsiteX1364" fmla="*/ 1964134 w 5242560"/>
              <a:gd name="connsiteY1364" fmla="*/ 1738286 h 6858000"/>
              <a:gd name="connsiteX1365" fmla="*/ 2029283 w 5242560"/>
              <a:gd name="connsiteY1365" fmla="*/ 1713781 h 6858000"/>
              <a:gd name="connsiteX1366" fmla="*/ 2983231 w 5242560"/>
              <a:gd name="connsiteY1366" fmla="*/ 1713728 h 6858000"/>
              <a:gd name="connsiteX1367" fmla="*/ 3041925 w 5242560"/>
              <a:gd name="connsiteY1367" fmla="*/ 1862987 h 6858000"/>
              <a:gd name="connsiteX1368" fmla="*/ 2829430 w 5242560"/>
              <a:gd name="connsiteY1368" fmla="*/ 1955709 h 6858000"/>
              <a:gd name="connsiteX1369" fmla="*/ 2918082 w 5242560"/>
              <a:gd name="connsiteY1369" fmla="*/ 1738234 h 6858000"/>
              <a:gd name="connsiteX1370" fmla="*/ 2983231 w 5242560"/>
              <a:gd name="connsiteY1370" fmla="*/ 1713728 h 6858000"/>
              <a:gd name="connsiteX1371" fmla="*/ 3937231 w 5242560"/>
              <a:gd name="connsiteY1371" fmla="*/ 1713675 h 6858000"/>
              <a:gd name="connsiteX1372" fmla="*/ 3995926 w 5242560"/>
              <a:gd name="connsiteY1372" fmla="*/ 1862933 h 6858000"/>
              <a:gd name="connsiteX1373" fmla="*/ 3783432 w 5242560"/>
              <a:gd name="connsiteY1373" fmla="*/ 1955656 h 6858000"/>
              <a:gd name="connsiteX1374" fmla="*/ 3872083 w 5242560"/>
              <a:gd name="connsiteY1374" fmla="*/ 1738180 h 6858000"/>
              <a:gd name="connsiteX1375" fmla="*/ 3937231 w 5242560"/>
              <a:gd name="connsiteY1375" fmla="*/ 1713675 h 6858000"/>
              <a:gd name="connsiteX1376" fmla="*/ 4891233 w 5242560"/>
              <a:gd name="connsiteY1376" fmla="*/ 1713621 h 6858000"/>
              <a:gd name="connsiteX1377" fmla="*/ 4949928 w 5242560"/>
              <a:gd name="connsiteY1377" fmla="*/ 1862880 h 6858000"/>
              <a:gd name="connsiteX1378" fmla="*/ 4737432 w 5242560"/>
              <a:gd name="connsiteY1378" fmla="*/ 1955602 h 6858000"/>
              <a:gd name="connsiteX1379" fmla="*/ 4826084 w 5242560"/>
              <a:gd name="connsiteY1379" fmla="*/ 1738126 h 6858000"/>
              <a:gd name="connsiteX1380" fmla="*/ 4891233 w 5242560"/>
              <a:gd name="connsiteY1380" fmla="*/ 1713621 h 6858000"/>
              <a:gd name="connsiteX1381" fmla="*/ 496583 w 5242560"/>
              <a:gd name="connsiteY1381" fmla="*/ 1713593 h 6858000"/>
              <a:gd name="connsiteX1382" fmla="*/ 561415 w 5242560"/>
              <a:gd name="connsiteY1382" fmla="*/ 1738716 h 6858000"/>
              <a:gd name="connsiteX1383" fmla="*/ 654137 w 5242560"/>
              <a:gd name="connsiteY1383" fmla="*/ 1951209 h 6858000"/>
              <a:gd name="connsiteX1384" fmla="*/ 436714 w 5242560"/>
              <a:gd name="connsiteY1384" fmla="*/ 1862559 h 6858000"/>
              <a:gd name="connsiteX1385" fmla="*/ 436661 w 5242560"/>
              <a:gd name="connsiteY1385" fmla="*/ 1862559 h 6858000"/>
              <a:gd name="connsiteX1386" fmla="*/ 496583 w 5242560"/>
              <a:gd name="connsiteY1386" fmla="*/ 1713593 h 6858000"/>
              <a:gd name="connsiteX1387" fmla="*/ 1450584 w 5242560"/>
              <a:gd name="connsiteY1387" fmla="*/ 1713540 h 6858000"/>
              <a:gd name="connsiteX1388" fmla="*/ 1515416 w 5242560"/>
              <a:gd name="connsiteY1388" fmla="*/ 1738662 h 6858000"/>
              <a:gd name="connsiteX1389" fmla="*/ 1608138 w 5242560"/>
              <a:gd name="connsiteY1389" fmla="*/ 1951156 h 6858000"/>
              <a:gd name="connsiteX1390" fmla="*/ 1390663 w 5242560"/>
              <a:gd name="connsiteY1390" fmla="*/ 1862505 h 6858000"/>
              <a:gd name="connsiteX1391" fmla="*/ 1450584 w 5242560"/>
              <a:gd name="connsiteY1391" fmla="*/ 1713540 h 6858000"/>
              <a:gd name="connsiteX1392" fmla="*/ 2404532 w 5242560"/>
              <a:gd name="connsiteY1392" fmla="*/ 1713486 h 6858000"/>
              <a:gd name="connsiteX1393" fmla="*/ 2469364 w 5242560"/>
              <a:gd name="connsiteY1393" fmla="*/ 1738608 h 6858000"/>
              <a:gd name="connsiteX1394" fmla="*/ 2562085 w 5242560"/>
              <a:gd name="connsiteY1394" fmla="*/ 1951103 h 6858000"/>
              <a:gd name="connsiteX1395" fmla="*/ 2344610 w 5242560"/>
              <a:gd name="connsiteY1395" fmla="*/ 1862452 h 6858000"/>
              <a:gd name="connsiteX1396" fmla="*/ 2404532 w 5242560"/>
              <a:gd name="connsiteY1396" fmla="*/ 1713486 h 6858000"/>
              <a:gd name="connsiteX1397" fmla="*/ 3358532 w 5242560"/>
              <a:gd name="connsiteY1397" fmla="*/ 1713432 h 6858000"/>
              <a:gd name="connsiteX1398" fmla="*/ 3423364 w 5242560"/>
              <a:gd name="connsiteY1398" fmla="*/ 1738555 h 6858000"/>
              <a:gd name="connsiteX1399" fmla="*/ 3516086 w 5242560"/>
              <a:gd name="connsiteY1399" fmla="*/ 1951049 h 6858000"/>
              <a:gd name="connsiteX1400" fmla="*/ 3298611 w 5242560"/>
              <a:gd name="connsiteY1400" fmla="*/ 1862398 h 6858000"/>
              <a:gd name="connsiteX1401" fmla="*/ 3358532 w 5242560"/>
              <a:gd name="connsiteY1401" fmla="*/ 1713432 h 6858000"/>
              <a:gd name="connsiteX1402" fmla="*/ 4312534 w 5242560"/>
              <a:gd name="connsiteY1402" fmla="*/ 1713379 h 6858000"/>
              <a:gd name="connsiteX1403" fmla="*/ 4377366 w 5242560"/>
              <a:gd name="connsiteY1403" fmla="*/ 1738501 h 6858000"/>
              <a:gd name="connsiteX1404" fmla="*/ 4470088 w 5242560"/>
              <a:gd name="connsiteY1404" fmla="*/ 1950996 h 6858000"/>
              <a:gd name="connsiteX1405" fmla="*/ 4252611 w 5242560"/>
              <a:gd name="connsiteY1405" fmla="*/ 1862344 h 6858000"/>
              <a:gd name="connsiteX1406" fmla="*/ 4312534 w 5242560"/>
              <a:gd name="connsiteY1406" fmla="*/ 1713379 h 6858000"/>
              <a:gd name="connsiteX1407" fmla="*/ 0 w 5242560"/>
              <a:gd name="connsiteY1407" fmla="*/ 1636061 h 6858000"/>
              <a:gd name="connsiteX1408" fmla="*/ 1871 w 5242560"/>
              <a:gd name="connsiteY1408" fmla="*/ 1636298 h 6858000"/>
              <a:gd name="connsiteX1409" fmla="*/ 0 w 5242560"/>
              <a:gd name="connsiteY1409" fmla="*/ 1641606 h 6858000"/>
              <a:gd name="connsiteX1410" fmla="*/ 916639 w 5242560"/>
              <a:gd name="connsiteY1410" fmla="*/ 1631278 h 6858000"/>
              <a:gd name="connsiteX1411" fmla="*/ 955872 w 5242560"/>
              <a:gd name="connsiteY1411" fmla="*/ 1636245 h 6858000"/>
              <a:gd name="connsiteX1412" fmla="*/ 821154 w 5242560"/>
              <a:gd name="connsiteY1412" fmla="*/ 1828599 h 6858000"/>
              <a:gd name="connsiteX1413" fmla="*/ 728111 w 5242560"/>
              <a:gd name="connsiteY1413" fmla="*/ 1679472 h 6858000"/>
              <a:gd name="connsiteX1414" fmla="*/ 916639 w 5242560"/>
              <a:gd name="connsiteY1414" fmla="*/ 1631278 h 6858000"/>
              <a:gd name="connsiteX1415" fmla="*/ 1870608 w 5242560"/>
              <a:gd name="connsiteY1415" fmla="*/ 1631224 h 6858000"/>
              <a:gd name="connsiteX1416" fmla="*/ 1909819 w 5242560"/>
              <a:gd name="connsiteY1416" fmla="*/ 1636191 h 6858000"/>
              <a:gd name="connsiteX1417" fmla="*/ 1775102 w 5242560"/>
              <a:gd name="connsiteY1417" fmla="*/ 1828545 h 6858000"/>
              <a:gd name="connsiteX1418" fmla="*/ 1682058 w 5242560"/>
              <a:gd name="connsiteY1418" fmla="*/ 1679419 h 6858000"/>
              <a:gd name="connsiteX1419" fmla="*/ 1870608 w 5242560"/>
              <a:gd name="connsiteY1419" fmla="*/ 1631224 h 6858000"/>
              <a:gd name="connsiteX1420" fmla="*/ 2824555 w 5242560"/>
              <a:gd name="connsiteY1420" fmla="*/ 1631171 h 6858000"/>
              <a:gd name="connsiteX1421" fmla="*/ 2863766 w 5242560"/>
              <a:gd name="connsiteY1421" fmla="*/ 1636137 h 6858000"/>
              <a:gd name="connsiteX1422" fmla="*/ 2729049 w 5242560"/>
              <a:gd name="connsiteY1422" fmla="*/ 1828491 h 6858000"/>
              <a:gd name="connsiteX1423" fmla="*/ 2636006 w 5242560"/>
              <a:gd name="connsiteY1423" fmla="*/ 1679365 h 6858000"/>
              <a:gd name="connsiteX1424" fmla="*/ 2824555 w 5242560"/>
              <a:gd name="connsiteY1424" fmla="*/ 1631171 h 6858000"/>
              <a:gd name="connsiteX1425" fmla="*/ 3778557 w 5242560"/>
              <a:gd name="connsiteY1425" fmla="*/ 1631118 h 6858000"/>
              <a:gd name="connsiteX1426" fmla="*/ 3817768 w 5242560"/>
              <a:gd name="connsiteY1426" fmla="*/ 1636084 h 6858000"/>
              <a:gd name="connsiteX1427" fmla="*/ 3683050 w 5242560"/>
              <a:gd name="connsiteY1427" fmla="*/ 1828438 h 6858000"/>
              <a:gd name="connsiteX1428" fmla="*/ 3590008 w 5242560"/>
              <a:gd name="connsiteY1428" fmla="*/ 1679311 h 6858000"/>
              <a:gd name="connsiteX1429" fmla="*/ 3778557 w 5242560"/>
              <a:gd name="connsiteY1429" fmla="*/ 1631118 h 6858000"/>
              <a:gd name="connsiteX1430" fmla="*/ 4732535 w 5242560"/>
              <a:gd name="connsiteY1430" fmla="*/ 1631064 h 6858000"/>
              <a:gd name="connsiteX1431" fmla="*/ 4771768 w 5242560"/>
              <a:gd name="connsiteY1431" fmla="*/ 1636030 h 6858000"/>
              <a:gd name="connsiteX1432" fmla="*/ 4637051 w 5242560"/>
              <a:gd name="connsiteY1432" fmla="*/ 1828384 h 6858000"/>
              <a:gd name="connsiteX1433" fmla="*/ 4544008 w 5242560"/>
              <a:gd name="connsiteY1433" fmla="*/ 1679258 h 6858000"/>
              <a:gd name="connsiteX1434" fmla="*/ 4732535 w 5242560"/>
              <a:gd name="connsiteY1434" fmla="*/ 1631064 h 6858000"/>
              <a:gd name="connsiteX1435" fmla="*/ 5184656 w 5242560"/>
              <a:gd name="connsiteY1435" fmla="*/ 1478037 h 6858000"/>
              <a:gd name="connsiteX1436" fmla="*/ 5217731 w 5242560"/>
              <a:gd name="connsiteY1436" fmla="*/ 1481057 h 6858000"/>
              <a:gd name="connsiteX1437" fmla="*/ 5242560 w 5242560"/>
              <a:gd name="connsiteY1437" fmla="*/ 1494441 h 6858000"/>
              <a:gd name="connsiteX1438" fmla="*/ 5242560 w 5242560"/>
              <a:gd name="connsiteY1438" fmla="*/ 1638876 h 6858000"/>
              <a:gd name="connsiteX1439" fmla="*/ 5241806 w 5242560"/>
              <a:gd name="connsiteY1439" fmla="*/ 1639620 h 6858000"/>
              <a:gd name="connsiteX1440" fmla="*/ 5014044 w 5242560"/>
              <a:gd name="connsiteY1440" fmla="*/ 1682846 h 6858000"/>
              <a:gd name="connsiteX1441" fmla="*/ 5148762 w 5242560"/>
              <a:gd name="connsiteY1441" fmla="*/ 1490493 h 6858000"/>
              <a:gd name="connsiteX1442" fmla="*/ 5184656 w 5242560"/>
              <a:gd name="connsiteY1442" fmla="*/ 1478037 h 6858000"/>
              <a:gd name="connsiteX1443" fmla="*/ 4230655 w 5242560"/>
              <a:gd name="connsiteY1443" fmla="*/ 1477984 h 6858000"/>
              <a:gd name="connsiteX1444" fmla="*/ 4287804 w 5242560"/>
              <a:gd name="connsiteY1444" fmla="*/ 1639566 h 6858000"/>
              <a:gd name="connsiteX1445" fmla="*/ 4060044 w 5242560"/>
              <a:gd name="connsiteY1445" fmla="*/ 1682793 h 6858000"/>
              <a:gd name="connsiteX1446" fmla="*/ 4194761 w 5242560"/>
              <a:gd name="connsiteY1446" fmla="*/ 1490440 h 6858000"/>
              <a:gd name="connsiteX1447" fmla="*/ 4230655 w 5242560"/>
              <a:gd name="connsiteY1447" fmla="*/ 1477984 h 6858000"/>
              <a:gd name="connsiteX1448" fmla="*/ 3276761 w 5242560"/>
              <a:gd name="connsiteY1448" fmla="*/ 1477930 h 6858000"/>
              <a:gd name="connsiteX1449" fmla="*/ 3333910 w 5242560"/>
              <a:gd name="connsiteY1449" fmla="*/ 1639512 h 6858000"/>
              <a:gd name="connsiteX1450" fmla="*/ 3106150 w 5242560"/>
              <a:gd name="connsiteY1450" fmla="*/ 1682739 h 6858000"/>
              <a:gd name="connsiteX1451" fmla="*/ 3240867 w 5242560"/>
              <a:gd name="connsiteY1451" fmla="*/ 1490386 h 6858000"/>
              <a:gd name="connsiteX1452" fmla="*/ 3276761 w 5242560"/>
              <a:gd name="connsiteY1452" fmla="*/ 1477930 h 6858000"/>
              <a:gd name="connsiteX1453" fmla="*/ 2322760 w 5242560"/>
              <a:gd name="connsiteY1453" fmla="*/ 1477876 h 6858000"/>
              <a:gd name="connsiteX1454" fmla="*/ 2379910 w 5242560"/>
              <a:gd name="connsiteY1454" fmla="*/ 1639459 h 6858000"/>
              <a:gd name="connsiteX1455" fmla="*/ 2152149 w 5242560"/>
              <a:gd name="connsiteY1455" fmla="*/ 1682685 h 6858000"/>
              <a:gd name="connsiteX1456" fmla="*/ 2286866 w 5242560"/>
              <a:gd name="connsiteY1456" fmla="*/ 1490332 h 6858000"/>
              <a:gd name="connsiteX1457" fmla="*/ 2322760 w 5242560"/>
              <a:gd name="connsiteY1457" fmla="*/ 1477876 h 6858000"/>
              <a:gd name="connsiteX1458" fmla="*/ 1368921 w 5242560"/>
              <a:gd name="connsiteY1458" fmla="*/ 1477823 h 6858000"/>
              <a:gd name="connsiteX1459" fmla="*/ 1426068 w 5242560"/>
              <a:gd name="connsiteY1459" fmla="*/ 1639405 h 6858000"/>
              <a:gd name="connsiteX1460" fmla="*/ 1198309 w 5242560"/>
              <a:gd name="connsiteY1460" fmla="*/ 1682633 h 6858000"/>
              <a:gd name="connsiteX1461" fmla="*/ 1333026 w 5242560"/>
              <a:gd name="connsiteY1461" fmla="*/ 1490279 h 6858000"/>
              <a:gd name="connsiteX1462" fmla="*/ 1368921 w 5242560"/>
              <a:gd name="connsiteY1462" fmla="*/ 1477823 h 6858000"/>
              <a:gd name="connsiteX1463" fmla="*/ 414973 w 5242560"/>
              <a:gd name="connsiteY1463" fmla="*/ 1477769 h 6858000"/>
              <a:gd name="connsiteX1464" fmla="*/ 472121 w 5242560"/>
              <a:gd name="connsiteY1464" fmla="*/ 1639351 h 6858000"/>
              <a:gd name="connsiteX1465" fmla="*/ 244361 w 5242560"/>
              <a:gd name="connsiteY1465" fmla="*/ 1682579 h 6858000"/>
              <a:gd name="connsiteX1466" fmla="*/ 379079 w 5242560"/>
              <a:gd name="connsiteY1466" fmla="*/ 1490225 h 6858000"/>
              <a:gd name="connsiteX1467" fmla="*/ 414973 w 5242560"/>
              <a:gd name="connsiteY1467" fmla="*/ 1477769 h 6858000"/>
              <a:gd name="connsiteX1468" fmla="*/ 4348334 w 5242560"/>
              <a:gd name="connsiteY1468" fmla="*/ 1364560 h 6858000"/>
              <a:gd name="connsiteX1469" fmla="*/ 4565810 w 5242560"/>
              <a:gd name="connsiteY1469" fmla="*/ 1453212 h 6858000"/>
              <a:gd name="connsiteX1470" fmla="*/ 4441055 w 5242560"/>
              <a:gd name="connsiteY1470" fmla="*/ 1577055 h 6858000"/>
              <a:gd name="connsiteX1471" fmla="*/ 4348334 w 5242560"/>
              <a:gd name="connsiteY1471" fmla="*/ 1364560 h 6858000"/>
              <a:gd name="connsiteX1472" fmla="*/ 3394440 w 5242560"/>
              <a:gd name="connsiteY1472" fmla="*/ 1364507 h 6858000"/>
              <a:gd name="connsiteX1473" fmla="*/ 3611916 w 5242560"/>
              <a:gd name="connsiteY1473" fmla="*/ 1453158 h 6858000"/>
              <a:gd name="connsiteX1474" fmla="*/ 3487161 w 5242560"/>
              <a:gd name="connsiteY1474" fmla="*/ 1577001 h 6858000"/>
              <a:gd name="connsiteX1475" fmla="*/ 3394440 w 5242560"/>
              <a:gd name="connsiteY1475" fmla="*/ 1364507 h 6858000"/>
              <a:gd name="connsiteX1476" fmla="*/ 2440492 w 5242560"/>
              <a:gd name="connsiteY1476" fmla="*/ 1364453 h 6858000"/>
              <a:gd name="connsiteX1477" fmla="*/ 2657914 w 5242560"/>
              <a:gd name="connsiteY1477" fmla="*/ 1453104 h 6858000"/>
              <a:gd name="connsiteX1478" fmla="*/ 2657968 w 5242560"/>
              <a:gd name="connsiteY1478" fmla="*/ 1453104 h 6858000"/>
              <a:gd name="connsiteX1479" fmla="*/ 2533214 w 5242560"/>
              <a:gd name="connsiteY1479" fmla="*/ 1576948 h 6858000"/>
              <a:gd name="connsiteX1480" fmla="*/ 2440492 w 5242560"/>
              <a:gd name="connsiteY1480" fmla="*/ 1364453 h 6858000"/>
              <a:gd name="connsiteX1481" fmla="*/ 1486598 w 5242560"/>
              <a:gd name="connsiteY1481" fmla="*/ 1364400 h 6858000"/>
              <a:gd name="connsiteX1482" fmla="*/ 1704073 w 5242560"/>
              <a:gd name="connsiteY1482" fmla="*/ 1453051 h 6858000"/>
              <a:gd name="connsiteX1483" fmla="*/ 1579320 w 5242560"/>
              <a:gd name="connsiteY1483" fmla="*/ 1576894 h 6858000"/>
              <a:gd name="connsiteX1484" fmla="*/ 1486598 w 5242560"/>
              <a:gd name="connsiteY1484" fmla="*/ 1364400 h 6858000"/>
              <a:gd name="connsiteX1485" fmla="*/ 532651 w 5242560"/>
              <a:gd name="connsiteY1485" fmla="*/ 1364346 h 6858000"/>
              <a:gd name="connsiteX1486" fmla="*/ 750072 w 5242560"/>
              <a:gd name="connsiteY1486" fmla="*/ 1452997 h 6858000"/>
              <a:gd name="connsiteX1487" fmla="*/ 750126 w 5242560"/>
              <a:gd name="connsiteY1487" fmla="*/ 1452997 h 6858000"/>
              <a:gd name="connsiteX1488" fmla="*/ 625373 w 5242560"/>
              <a:gd name="connsiteY1488" fmla="*/ 1576840 h 6858000"/>
              <a:gd name="connsiteX1489" fmla="*/ 532651 w 5242560"/>
              <a:gd name="connsiteY1489" fmla="*/ 1364346 h 6858000"/>
              <a:gd name="connsiteX1490" fmla="*/ 5034936 w 5242560"/>
              <a:gd name="connsiteY1490" fmla="*/ 1360007 h 6858000"/>
              <a:gd name="connsiteX1491" fmla="*/ 4946284 w 5242560"/>
              <a:gd name="connsiteY1491" fmla="*/ 1577483 h 6858000"/>
              <a:gd name="connsiteX1492" fmla="*/ 4822442 w 5242560"/>
              <a:gd name="connsiteY1492" fmla="*/ 1452729 h 6858000"/>
              <a:gd name="connsiteX1493" fmla="*/ 5034936 w 5242560"/>
              <a:gd name="connsiteY1493" fmla="*/ 1360007 h 6858000"/>
              <a:gd name="connsiteX1494" fmla="*/ 4080988 w 5242560"/>
              <a:gd name="connsiteY1494" fmla="*/ 1359954 h 6858000"/>
              <a:gd name="connsiteX1495" fmla="*/ 3992338 w 5242560"/>
              <a:gd name="connsiteY1495" fmla="*/ 1577430 h 6858000"/>
              <a:gd name="connsiteX1496" fmla="*/ 3868494 w 5242560"/>
              <a:gd name="connsiteY1496" fmla="*/ 1452676 h 6858000"/>
              <a:gd name="connsiteX1497" fmla="*/ 4080988 w 5242560"/>
              <a:gd name="connsiteY1497" fmla="*/ 1359954 h 6858000"/>
              <a:gd name="connsiteX1498" fmla="*/ 3127094 w 5242560"/>
              <a:gd name="connsiteY1498" fmla="*/ 1359900 h 6858000"/>
              <a:gd name="connsiteX1499" fmla="*/ 3038443 w 5242560"/>
              <a:gd name="connsiteY1499" fmla="*/ 1577376 h 6858000"/>
              <a:gd name="connsiteX1500" fmla="*/ 2914600 w 5242560"/>
              <a:gd name="connsiteY1500" fmla="*/ 1452623 h 6858000"/>
              <a:gd name="connsiteX1501" fmla="*/ 3127094 w 5242560"/>
              <a:gd name="connsiteY1501" fmla="*/ 1359900 h 6858000"/>
              <a:gd name="connsiteX1502" fmla="*/ 2173200 w 5242560"/>
              <a:gd name="connsiteY1502" fmla="*/ 1359847 h 6858000"/>
              <a:gd name="connsiteX1503" fmla="*/ 2084549 w 5242560"/>
              <a:gd name="connsiteY1503" fmla="*/ 1577322 h 6858000"/>
              <a:gd name="connsiteX1504" fmla="*/ 1960706 w 5242560"/>
              <a:gd name="connsiteY1504" fmla="*/ 1452569 h 6858000"/>
              <a:gd name="connsiteX1505" fmla="*/ 2173200 w 5242560"/>
              <a:gd name="connsiteY1505" fmla="*/ 1359847 h 6858000"/>
              <a:gd name="connsiteX1506" fmla="*/ 1219253 w 5242560"/>
              <a:gd name="connsiteY1506" fmla="*/ 1359794 h 6858000"/>
              <a:gd name="connsiteX1507" fmla="*/ 1130602 w 5242560"/>
              <a:gd name="connsiteY1507" fmla="*/ 1577269 h 6858000"/>
              <a:gd name="connsiteX1508" fmla="*/ 1006759 w 5242560"/>
              <a:gd name="connsiteY1508" fmla="*/ 1452515 h 6858000"/>
              <a:gd name="connsiteX1509" fmla="*/ 1219253 w 5242560"/>
              <a:gd name="connsiteY1509" fmla="*/ 1359794 h 6858000"/>
              <a:gd name="connsiteX1510" fmla="*/ 265359 w 5242560"/>
              <a:gd name="connsiteY1510" fmla="*/ 1359740 h 6858000"/>
              <a:gd name="connsiteX1511" fmla="*/ 176708 w 5242560"/>
              <a:gd name="connsiteY1511" fmla="*/ 1577216 h 6858000"/>
              <a:gd name="connsiteX1512" fmla="*/ 52865 w 5242560"/>
              <a:gd name="connsiteY1512" fmla="*/ 1452462 h 6858000"/>
              <a:gd name="connsiteX1513" fmla="*/ 265359 w 5242560"/>
              <a:gd name="connsiteY1513" fmla="*/ 1359740 h 6858000"/>
              <a:gd name="connsiteX1514" fmla="*/ 4560669 w 5242560"/>
              <a:gd name="connsiteY1514" fmla="*/ 1117882 h 6858000"/>
              <a:gd name="connsiteX1515" fmla="*/ 4618304 w 5242560"/>
              <a:gd name="connsiteY1515" fmla="*/ 1156780 h 6858000"/>
              <a:gd name="connsiteX1516" fmla="*/ 4661530 w 5242560"/>
              <a:gd name="connsiteY1516" fmla="*/ 1384541 h 6858000"/>
              <a:gd name="connsiteX1517" fmla="*/ 4469178 w 5242560"/>
              <a:gd name="connsiteY1517" fmla="*/ 1249824 h 6858000"/>
              <a:gd name="connsiteX1518" fmla="*/ 4560669 w 5242560"/>
              <a:gd name="connsiteY1518" fmla="*/ 1117882 h 6858000"/>
              <a:gd name="connsiteX1519" fmla="*/ 3606775 w 5242560"/>
              <a:gd name="connsiteY1519" fmla="*/ 1117828 h 6858000"/>
              <a:gd name="connsiteX1520" fmla="*/ 3664410 w 5242560"/>
              <a:gd name="connsiteY1520" fmla="*/ 1156726 h 6858000"/>
              <a:gd name="connsiteX1521" fmla="*/ 3707583 w 5242560"/>
              <a:gd name="connsiteY1521" fmla="*/ 1384487 h 6858000"/>
              <a:gd name="connsiteX1522" fmla="*/ 3515230 w 5242560"/>
              <a:gd name="connsiteY1522" fmla="*/ 1249770 h 6858000"/>
              <a:gd name="connsiteX1523" fmla="*/ 3515284 w 5242560"/>
              <a:gd name="connsiteY1523" fmla="*/ 1249770 h 6858000"/>
              <a:gd name="connsiteX1524" fmla="*/ 3606775 w 5242560"/>
              <a:gd name="connsiteY1524" fmla="*/ 1117828 h 6858000"/>
              <a:gd name="connsiteX1525" fmla="*/ 2652773 w 5242560"/>
              <a:gd name="connsiteY1525" fmla="*/ 1117774 h 6858000"/>
              <a:gd name="connsiteX1526" fmla="*/ 2710409 w 5242560"/>
              <a:gd name="connsiteY1526" fmla="*/ 1156673 h 6858000"/>
              <a:gd name="connsiteX1527" fmla="*/ 2753582 w 5242560"/>
              <a:gd name="connsiteY1527" fmla="*/ 1384434 h 6858000"/>
              <a:gd name="connsiteX1528" fmla="*/ 2561229 w 5242560"/>
              <a:gd name="connsiteY1528" fmla="*/ 1249716 h 6858000"/>
              <a:gd name="connsiteX1529" fmla="*/ 2561282 w 5242560"/>
              <a:gd name="connsiteY1529" fmla="*/ 1249716 h 6858000"/>
              <a:gd name="connsiteX1530" fmla="*/ 2652773 w 5242560"/>
              <a:gd name="connsiteY1530" fmla="*/ 1117774 h 6858000"/>
              <a:gd name="connsiteX1531" fmla="*/ 1698933 w 5242560"/>
              <a:gd name="connsiteY1531" fmla="*/ 1117721 h 6858000"/>
              <a:gd name="connsiteX1532" fmla="*/ 1756568 w 5242560"/>
              <a:gd name="connsiteY1532" fmla="*/ 1156619 h 6858000"/>
              <a:gd name="connsiteX1533" fmla="*/ 1799795 w 5242560"/>
              <a:gd name="connsiteY1533" fmla="*/ 1384380 h 6858000"/>
              <a:gd name="connsiteX1534" fmla="*/ 1607441 w 5242560"/>
              <a:gd name="connsiteY1534" fmla="*/ 1249663 h 6858000"/>
              <a:gd name="connsiteX1535" fmla="*/ 1698933 w 5242560"/>
              <a:gd name="connsiteY1535" fmla="*/ 1117721 h 6858000"/>
              <a:gd name="connsiteX1536" fmla="*/ 744986 w 5242560"/>
              <a:gd name="connsiteY1536" fmla="*/ 1117667 h 6858000"/>
              <a:gd name="connsiteX1537" fmla="*/ 802620 w 5242560"/>
              <a:gd name="connsiteY1537" fmla="*/ 1156566 h 6858000"/>
              <a:gd name="connsiteX1538" fmla="*/ 845848 w 5242560"/>
              <a:gd name="connsiteY1538" fmla="*/ 1384326 h 6858000"/>
              <a:gd name="connsiteX1539" fmla="*/ 653494 w 5242560"/>
              <a:gd name="connsiteY1539" fmla="*/ 1249609 h 6858000"/>
              <a:gd name="connsiteX1540" fmla="*/ 744986 w 5242560"/>
              <a:gd name="connsiteY1540" fmla="*/ 1117667 h 6858000"/>
              <a:gd name="connsiteX1541" fmla="*/ 0 w 5242560"/>
              <a:gd name="connsiteY1541" fmla="*/ 1081352 h 6858000"/>
              <a:gd name="connsiteX1542" fmla="*/ 11319 w 5242560"/>
              <a:gd name="connsiteY1542" fmla="*/ 1085337 h 6858000"/>
              <a:gd name="connsiteX1543" fmla="*/ 135623 w 5242560"/>
              <a:gd name="connsiteY1543" fmla="*/ 1196097 h 6858000"/>
              <a:gd name="connsiteX1544" fmla="*/ 135570 w 5242560"/>
              <a:gd name="connsiteY1544" fmla="*/ 1196097 h 6858000"/>
              <a:gd name="connsiteX1545" fmla="*/ 13112 w 5242560"/>
              <a:gd name="connsiteY1545" fmla="*/ 1316168 h 6858000"/>
              <a:gd name="connsiteX1546" fmla="*/ 0 w 5242560"/>
              <a:gd name="connsiteY1546" fmla="*/ 1302880 h 6858000"/>
              <a:gd name="connsiteX1547" fmla="*/ 4712954 w 5242560"/>
              <a:gd name="connsiteY1547" fmla="*/ 1061648 h 6858000"/>
              <a:gd name="connsiteX1548" fmla="*/ 4905306 w 5242560"/>
              <a:gd name="connsiteY1548" fmla="*/ 1196365 h 6858000"/>
              <a:gd name="connsiteX1549" fmla="*/ 4905253 w 5242560"/>
              <a:gd name="connsiteY1549" fmla="*/ 1196365 h 6858000"/>
              <a:gd name="connsiteX1550" fmla="*/ 4756126 w 5242560"/>
              <a:gd name="connsiteY1550" fmla="*/ 1289408 h 6858000"/>
              <a:gd name="connsiteX1551" fmla="*/ 4712954 w 5242560"/>
              <a:gd name="connsiteY1551" fmla="*/ 1061648 h 6858000"/>
              <a:gd name="connsiteX1552" fmla="*/ 3758952 w 5242560"/>
              <a:gd name="connsiteY1552" fmla="*/ 1061595 h 6858000"/>
              <a:gd name="connsiteX1553" fmla="*/ 3951306 w 5242560"/>
              <a:gd name="connsiteY1553" fmla="*/ 1196311 h 6858000"/>
              <a:gd name="connsiteX1554" fmla="*/ 3802180 w 5242560"/>
              <a:gd name="connsiteY1554" fmla="*/ 1289355 h 6858000"/>
              <a:gd name="connsiteX1555" fmla="*/ 3758952 w 5242560"/>
              <a:gd name="connsiteY1555" fmla="*/ 1061595 h 6858000"/>
              <a:gd name="connsiteX1556" fmla="*/ 2805059 w 5242560"/>
              <a:gd name="connsiteY1556" fmla="*/ 1061541 h 6858000"/>
              <a:gd name="connsiteX1557" fmla="*/ 2997412 w 5242560"/>
              <a:gd name="connsiteY1557" fmla="*/ 1196257 h 6858000"/>
              <a:gd name="connsiteX1558" fmla="*/ 2848286 w 5242560"/>
              <a:gd name="connsiteY1558" fmla="*/ 1289301 h 6858000"/>
              <a:gd name="connsiteX1559" fmla="*/ 2805059 w 5242560"/>
              <a:gd name="connsiteY1559" fmla="*/ 1061541 h 6858000"/>
              <a:gd name="connsiteX1560" fmla="*/ 1851111 w 5242560"/>
              <a:gd name="connsiteY1560" fmla="*/ 1061487 h 6858000"/>
              <a:gd name="connsiteX1561" fmla="*/ 2043411 w 5242560"/>
              <a:gd name="connsiteY1561" fmla="*/ 1196205 h 6858000"/>
              <a:gd name="connsiteX1562" fmla="*/ 1894284 w 5242560"/>
              <a:gd name="connsiteY1562" fmla="*/ 1289247 h 6858000"/>
              <a:gd name="connsiteX1563" fmla="*/ 1851111 w 5242560"/>
              <a:gd name="connsiteY1563" fmla="*/ 1061487 h 6858000"/>
              <a:gd name="connsiteX1564" fmla="*/ 897218 w 5242560"/>
              <a:gd name="connsiteY1564" fmla="*/ 1061434 h 6858000"/>
              <a:gd name="connsiteX1565" fmla="*/ 1089571 w 5242560"/>
              <a:gd name="connsiteY1565" fmla="*/ 1196151 h 6858000"/>
              <a:gd name="connsiteX1566" fmla="*/ 940444 w 5242560"/>
              <a:gd name="connsiteY1566" fmla="*/ 1289194 h 6858000"/>
              <a:gd name="connsiteX1567" fmla="*/ 897218 w 5242560"/>
              <a:gd name="connsiteY1567" fmla="*/ 1061434 h 6858000"/>
              <a:gd name="connsiteX1568" fmla="*/ 4506579 w 5242560"/>
              <a:gd name="connsiteY1568" fmla="*/ 845646 h 6858000"/>
              <a:gd name="connsiteX1569" fmla="*/ 4565274 w 5242560"/>
              <a:gd name="connsiteY1569" fmla="*/ 994905 h 6858000"/>
              <a:gd name="connsiteX1570" fmla="*/ 4352779 w 5242560"/>
              <a:gd name="connsiteY1570" fmla="*/ 1087627 h 6858000"/>
              <a:gd name="connsiteX1571" fmla="*/ 4441430 w 5242560"/>
              <a:gd name="connsiteY1571" fmla="*/ 870152 h 6858000"/>
              <a:gd name="connsiteX1572" fmla="*/ 4506579 w 5242560"/>
              <a:gd name="connsiteY1572" fmla="*/ 845646 h 6858000"/>
              <a:gd name="connsiteX1573" fmla="*/ 3552578 w 5242560"/>
              <a:gd name="connsiteY1573" fmla="*/ 845593 h 6858000"/>
              <a:gd name="connsiteX1574" fmla="*/ 3611273 w 5242560"/>
              <a:gd name="connsiteY1574" fmla="*/ 994851 h 6858000"/>
              <a:gd name="connsiteX1575" fmla="*/ 3398778 w 5242560"/>
              <a:gd name="connsiteY1575" fmla="*/ 1087573 h 6858000"/>
              <a:gd name="connsiteX1576" fmla="*/ 3487430 w 5242560"/>
              <a:gd name="connsiteY1576" fmla="*/ 870098 h 6858000"/>
              <a:gd name="connsiteX1577" fmla="*/ 3552578 w 5242560"/>
              <a:gd name="connsiteY1577" fmla="*/ 845593 h 6858000"/>
              <a:gd name="connsiteX1578" fmla="*/ 2598791 w 5242560"/>
              <a:gd name="connsiteY1578" fmla="*/ 845539 h 6858000"/>
              <a:gd name="connsiteX1579" fmla="*/ 2657485 w 5242560"/>
              <a:gd name="connsiteY1579" fmla="*/ 994798 h 6858000"/>
              <a:gd name="connsiteX1580" fmla="*/ 2444992 w 5242560"/>
              <a:gd name="connsiteY1580" fmla="*/ 1087520 h 6858000"/>
              <a:gd name="connsiteX1581" fmla="*/ 2533642 w 5242560"/>
              <a:gd name="connsiteY1581" fmla="*/ 870044 h 6858000"/>
              <a:gd name="connsiteX1582" fmla="*/ 2598791 w 5242560"/>
              <a:gd name="connsiteY1582" fmla="*/ 845539 h 6858000"/>
              <a:gd name="connsiteX1583" fmla="*/ 1644844 w 5242560"/>
              <a:gd name="connsiteY1583" fmla="*/ 845485 h 6858000"/>
              <a:gd name="connsiteX1584" fmla="*/ 1703538 w 5242560"/>
              <a:gd name="connsiteY1584" fmla="*/ 994744 h 6858000"/>
              <a:gd name="connsiteX1585" fmla="*/ 1491044 w 5242560"/>
              <a:gd name="connsiteY1585" fmla="*/ 1087467 h 6858000"/>
              <a:gd name="connsiteX1586" fmla="*/ 1579694 w 5242560"/>
              <a:gd name="connsiteY1586" fmla="*/ 869991 h 6858000"/>
              <a:gd name="connsiteX1587" fmla="*/ 1644844 w 5242560"/>
              <a:gd name="connsiteY1587" fmla="*/ 845485 h 6858000"/>
              <a:gd name="connsiteX1588" fmla="*/ 4881828 w 5242560"/>
              <a:gd name="connsiteY1588" fmla="*/ 845458 h 6858000"/>
              <a:gd name="connsiteX1589" fmla="*/ 4946660 w 5242560"/>
              <a:gd name="connsiteY1589" fmla="*/ 870580 h 6858000"/>
              <a:gd name="connsiteX1590" fmla="*/ 5039381 w 5242560"/>
              <a:gd name="connsiteY1590" fmla="*/ 1083074 h 6858000"/>
              <a:gd name="connsiteX1591" fmla="*/ 4821905 w 5242560"/>
              <a:gd name="connsiteY1591" fmla="*/ 994423 h 6858000"/>
              <a:gd name="connsiteX1592" fmla="*/ 4881828 w 5242560"/>
              <a:gd name="connsiteY1592" fmla="*/ 845458 h 6858000"/>
              <a:gd name="connsiteX1593" fmla="*/ 690950 w 5242560"/>
              <a:gd name="connsiteY1593" fmla="*/ 845432 h 6858000"/>
              <a:gd name="connsiteX1594" fmla="*/ 749644 w 5242560"/>
              <a:gd name="connsiteY1594" fmla="*/ 994690 h 6858000"/>
              <a:gd name="connsiteX1595" fmla="*/ 537150 w 5242560"/>
              <a:gd name="connsiteY1595" fmla="*/ 1087413 h 6858000"/>
              <a:gd name="connsiteX1596" fmla="*/ 625801 w 5242560"/>
              <a:gd name="connsiteY1596" fmla="*/ 869937 h 6858000"/>
              <a:gd name="connsiteX1597" fmla="*/ 690950 w 5242560"/>
              <a:gd name="connsiteY1597" fmla="*/ 845432 h 6858000"/>
              <a:gd name="connsiteX1598" fmla="*/ 3927880 w 5242560"/>
              <a:gd name="connsiteY1598" fmla="*/ 845404 h 6858000"/>
              <a:gd name="connsiteX1599" fmla="*/ 3992712 w 5242560"/>
              <a:gd name="connsiteY1599" fmla="*/ 870526 h 6858000"/>
              <a:gd name="connsiteX1600" fmla="*/ 4085434 w 5242560"/>
              <a:gd name="connsiteY1600" fmla="*/ 1083021 h 6858000"/>
              <a:gd name="connsiteX1601" fmla="*/ 3867958 w 5242560"/>
              <a:gd name="connsiteY1601" fmla="*/ 994370 h 6858000"/>
              <a:gd name="connsiteX1602" fmla="*/ 3927880 w 5242560"/>
              <a:gd name="connsiteY1602" fmla="*/ 845404 h 6858000"/>
              <a:gd name="connsiteX1603" fmla="*/ 2973933 w 5242560"/>
              <a:gd name="connsiteY1603" fmla="*/ 845350 h 6858000"/>
              <a:gd name="connsiteX1604" fmla="*/ 3038765 w 5242560"/>
              <a:gd name="connsiteY1604" fmla="*/ 870472 h 6858000"/>
              <a:gd name="connsiteX1605" fmla="*/ 3131486 w 5242560"/>
              <a:gd name="connsiteY1605" fmla="*/ 1082967 h 6858000"/>
              <a:gd name="connsiteX1606" fmla="*/ 2914064 w 5242560"/>
              <a:gd name="connsiteY1606" fmla="*/ 994316 h 6858000"/>
              <a:gd name="connsiteX1607" fmla="*/ 2914010 w 5242560"/>
              <a:gd name="connsiteY1607" fmla="*/ 994316 h 6858000"/>
              <a:gd name="connsiteX1608" fmla="*/ 2973933 w 5242560"/>
              <a:gd name="connsiteY1608" fmla="*/ 845350 h 6858000"/>
              <a:gd name="connsiteX1609" fmla="*/ 2020093 w 5242560"/>
              <a:gd name="connsiteY1609" fmla="*/ 845297 h 6858000"/>
              <a:gd name="connsiteX1610" fmla="*/ 2084925 w 5242560"/>
              <a:gd name="connsiteY1610" fmla="*/ 870419 h 6858000"/>
              <a:gd name="connsiteX1611" fmla="*/ 2177646 w 5242560"/>
              <a:gd name="connsiteY1611" fmla="*/ 1082913 h 6858000"/>
              <a:gd name="connsiteX1612" fmla="*/ 1960170 w 5242560"/>
              <a:gd name="connsiteY1612" fmla="*/ 994262 h 6858000"/>
              <a:gd name="connsiteX1613" fmla="*/ 2020093 w 5242560"/>
              <a:gd name="connsiteY1613" fmla="*/ 845297 h 6858000"/>
              <a:gd name="connsiteX1614" fmla="*/ 1066145 w 5242560"/>
              <a:gd name="connsiteY1614" fmla="*/ 845243 h 6858000"/>
              <a:gd name="connsiteX1615" fmla="*/ 1130976 w 5242560"/>
              <a:gd name="connsiteY1615" fmla="*/ 870365 h 6858000"/>
              <a:gd name="connsiteX1616" fmla="*/ 1223699 w 5242560"/>
              <a:gd name="connsiteY1616" fmla="*/ 1082860 h 6858000"/>
              <a:gd name="connsiteX1617" fmla="*/ 1006223 w 5242560"/>
              <a:gd name="connsiteY1617" fmla="*/ 994208 h 6858000"/>
              <a:gd name="connsiteX1618" fmla="*/ 1066145 w 5242560"/>
              <a:gd name="connsiteY1618" fmla="*/ 845243 h 6858000"/>
              <a:gd name="connsiteX1619" fmla="*/ 112251 w 5242560"/>
              <a:gd name="connsiteY1619" fmla="*/ 845190 h 6858000"/>
              <a:gd name="connsiteX1620" fmla="*/ 177083 w 5242560"/>
              <a:gd name="connsiteY1620" fmla="*/ 870312 h 6858000"/>
              <a:gd name="connsiteX1621" fmla="*/ 269805 w 5242560"/>
              <a:gd name="connsiteY1621" fmla="*/ 1082806 h 6858000"/>
              <a:gd name="connsiteX1622" fmla="*/ 52329 w 5242560"/>
              <a:gd name="connsiteY1622" fmla="*/ 994155 h 6858000"/>
              <a:gd name="connsiteX1623" fmla="*/ 112251 w 5242560"/>
              <a:gd name="connsiteY1623" fmla="*/ 845190 h 6858000"/>
              <a:gd name="connsiteX1624" fmla="*/ 5242560 w 5242560"/>
              <a:gd name="connsiteY1624" fmla="*/ 765193 h 6858000"/>
              <a:gd name="connsiteX1625" fmla="*/ 5242560 w 5242560"/>
              <a:gd name="connsiteY1625" fmla="*/ 934440 h 6858000"/>
              <a:gd name="connsiteX1626" fmla="*/ 5206345 w 5242560"/>
              <a:gd name="connsiteY1626" fmla="*/ 960516 h 6858000"/>
              <a:gd name="connsiteX1627" fmla="*/ 5206345 w 5242560"/>
              <a:gd name="connsiteY1627" fmla="*/ 960463 h 6858000"/>
              <a:gd name="connsiteX1628" fmla="*/ 5113302 w 5242560"/>
              <a:gd name="connsiteY1628" fmla="*/ 811337 h 6858000"/>
              <a:gd name="connsiteX1629" fmla="*/ 5181588 w 5242560"/>
              <a:gd name="connsiteY1629" fmla="*/ 778189 h 6858000"/>
              <a:gd name="connsiteX1630" fmla="*/ 4347904 w 5242560"/>
              <a:gd name="connsiteY1630" fmla="*/ 763141 h 6858000"/>
              <a:gd name="connsiteX1631" fmla="*/ 4387115 w 5242560"/>
              <a:gd name="connsiteY1631" fmla="*/ 768109 h 6858000"/>
              <a:gd name="connsiteX1632" fmla="*/ 4252398 w 5242560"/>
              <a:gd name="connsiteY1632" fmla="*/ 960463 h 6858000"/>
              <a:gd name="connsiteX1633" fmla="*/ 4252398 w 5242560"/>
              <a:gd name="connsiteY1633" fmla="*/ 960409 h 6858000"/>
              <a:gd name="connsiteX1634" fmla="*/ 4159354 w 5242560"/>
              <a:gd name="connsiteY1634" fmla="*/ 811283 h 6858000"/>
              <a:gd name="connsiteX1635" fmla="*/ 4347904 w 5242560"/>
              <a:gd name="connsiteY1635" fmla="*/ 763141 h 6858000"/>
              <a:gd name="connsiteX1636" fmla="*/ 3394011 w 5242560"/>
              <a:gd name="connsiteY1636" fmla="*/ 763088 h 6858000"/>
              <a:gd name="connsiteX1637" fmla="*/ 3433222 w 5242560"/>
              <a:gd name="connsiteY1637" fmla="*/ 768055 h 6858000"/>
              <a:gd name="connsiteX1638" fmla="*/ 3298504 w 5242560"/>
              <a:gd name="connsiteY1638" fmla="*/ 960409 h 6858000"/>
              <a:gd name="connsiteX1639" fmla="*/ 3298504 w 5242560"/>
              <a:gd name="connsiteY1639" fmla="*/ 960356 h 6858000"/>
              <a:gd name="connsiteX1640" fmla="*/ 3205460 w 5242560"/>
              <a:gd name="connsiteY1640" fmla="*/ 811229 h 6858000"/>
              <a:gd name="connsiteX1641" fmla="*/ 3394011 w 5242560"/>
              <a:gd name="connsiteY1641" fmla="*/ 763088 h 6858000"/>
              <a:gd name="connsiteX1642" fmla="*/ 2440116 w 5242560"/>
              <a:gd name="connsiteY1642" fmla="*/ 763035 h 6858000"/>
              <a:gd name="connsiteX1643" fmla="*/ 2479326 w 5242560"/>
              <a:gd name="connsiteY1643" fmla="*/ 768002 h 6858000"/>
              <a:gd name="connsiteX1644" fmla="*/ 2344610 w 5242560"/>
              <a:gd name="connsiteY1644" fmla="*/ 960356 h 6858000"/>
              <a:gd name="connsiteX1645" fmla="*/ 2344610 w 5242560"/>
              <a:gd name="connsiteY1645" fmla="*/ 960302 h 6858000"/>
              <a:gd name="connsiteX1646" fmla="*/ 2251567 w 5242560"/>
              <a:gd name="connsiteY1646" fmla="*/ 811176 h 6858000"/>
              <a:gd name="connsiteX1647" fmla="*/ 2440116 w 5242560"/>
              <a:gd name="connsiteY1647" fmla="*/ 763035 h 6858000"/>
              <a:gd name="connsiteX1648" fmla="*/ 1486168 w 5242560"/>
              <a:gd name="connsiteY1648" fmla="*/ 762981 h 6858000"/>
              <a:gd name="connsiteX1649" fmla="*/ 1525379 w 5242560"/>
              <a:gd name="connsiteY1649" fmla="*/ 767948 h 6858000"/>
              <a:gd name="connsiteX1650" fmla="*/ 1390663 w 5242560"/>
              <a:gd name="connsiteY1650" fmla="*/ 960302 h 6858000"/>
              <a:gd name="connsiteX1651" fmla="*/ 1390663 w 5242560"/>
              <a:gd name="connsiteY1651" fmla="*/ 960248 h 6858000"/>
              <a:gd name="connsiteX1652" fmla="*/ 1297619 w 5242560"/>
              <a:gd name="connsiteY1652" fmla="*/ 811122 h 6858000"/>
              <a:gd name="connsiteX1653" fmla="*/ 1486168 w 5242560"/>
              <a:gd name="connsiteY1653" fmla="*/ 762981 h 6858000"/>
              <a:gd name="connsiteX1654" fmla="*/ 532275 w 5242560"/>
              <a:gd name="connsiteY1654" fmla="*/ 762927 h 6858000"/>
              <a:gd name="connsiteX1655" fmla="*/ 571486 w 5242560"/>
              <a:gd name="connsiteY1655" fmla="*/ 767894 h 6858000"/>
              <a:gd name="connsiteX1656" fmla="*/ 436768 w 5242560"/>
              <a:gd name="connsiteY1656" fmla="*/ 960248 h 6858000"/>
              <a:gd name="connsiteX1657" fmla="*/ 436768 w 5242560"/>
              <a:gd name="connsiteY1657" fmla="*/ 960195 h 6858000"/>
              <a:gd name="connsiteX1658" fmla="*/ 343726 w 5242560"/>
              <a:gd name="connsiteY1658" fmla="*/ 811068 h 6858000"/>
              <a:gd name="connsiteX1659" fmla="*/ 532275 w 5242560"/>
              <a:gd name="connsiteY1659" fmla="*/ 762927 h 6858000"/>
              <a:gd name="connsiteX1660" fmla="*/ 9965 w 5242560"/>
              <a:gd name="connsiteY1660" fmla="*/ 605938 h 6858000"/>
              <a:gd name="connsiteX1661" fmla="*/ 67113 w 5242560"/>
              <a:gd name="connsiteY1661" fmla="*/ 767520 h 6858000"/>
              <a:gd name="connsiteX1662" fmla="*/ 0 w 5242560"/>
              <a:gd name="connsiteY1662" fmla="*/ 800128 h 6858000"/>
              <a:gd name="connsiteX1663" fmla="*/ 0 w 5242560"/>
              <a:gd name="connsiteY1663" fmla="*/ 609395 h 6858000"/>
              <a:gd name="connsiteX1664" fmla="*/ 4779809 w 5242560"/>
              <a:gd name="connsiteY1664" fmla="*/ 605080 h 6858000"/>
              <a:gd name="connsiteX1665" fmla="*/ 4836957 w 5242560"/>
              <a:gd name="connsiteY1665" fmla="*/ 766662 h 6858000"/>
              <a:gd name="connsiteX1666" fmla="*/ 4609197 w 5242560"/>
              <a:gd name="connsiteY1666" fmla="*/ 809890 h 6858000"/>
              <a:gd name="connsiteX1667" fmla="*/ 4743914 w 5242560"/>
              <a:gd name="connsiteY1667" fmla="*/ 617536 h 6858000"/>
              <a:gd name="connsiteX1668" fmla="*/ 4779809 w 5242560"/>
              <a:gd name="connsiteY1668" fmla="*/ 605080 h 6858000"/>
              <a:gd name="connsiteX1669" fmla="*/ 3825808 w 5242560"/>
              <a:gd name="connsiteY1669" fmla="*/ 605027 h 6858000"/>
              <a:gd name="connsiteX1670" fmla="*/ 3882957 w 5242560"/>
              <a:gd name="connsiteY1670" fmla="*/ 766609 h 6858000"/>
              <a:gd name="connsiteX1671" fmla="*/ 3655196 w 5242560"/>
              <a:gd name="connsiteY1671" fmla="*/ 809836 h 6858000"/>
              <a:gd name="connsiteX1672" fmla="*/ 3789914 w 5242560"/>
              <a:gd name="connsiteY1672" fmla="*/ 617483 h 6858000"/>
              <a:gd name="connsiteX1673" fmla="*/ 3825808 w 5242560"/>
              <a:gd name="connsiteY1673" fmla="*/ 605027 h 6858000"/>
              <a:gd name="connsiteX1674" fmla="*/ 2871967 w 5242560"/>
              <a:gd name="connsiteY1674" fmla="*/ 604974 h 6858000"/>
              <a:gd name="connsiteX1675" fmla="*/ 2929116 w 5242560"/>
              <a:gd name="connsiteY1675" fmla="*/ 766556 h 6858000"/>
              <a:gd name="connsiteX1676" fmla="*/ 2701356 w 5242560"/>
              <a:gd name="connsiteY1676" fmla="*/ 809783 h 6858000"/>
              <a:gd name="connsiteX1677" fmla="*/ 2836073 w 5242560"/>
              <a:gd name="connsiteY1677" fmla="*/ 617430 h 6858000"/>
              <a:gd name="connsiteX1678" fmla="*/ 2871967 w 5242560"/>
              <a:gd name="connsiteY1678" fmla="*/ 604974 h 6858000"/>
              <a:gd name="connsiteX1679" fmla="*/ 1917912 w 5242560"/>
              <a:gd name="connsiteY1679" fmla="*/ 604920 h 6858000"/>
              <a:gd name="connsiteX1680" fmla="*/ 1975061 w 5242560"/>
              <a:gd name="connsiteY1680" fmla="*/ 766502 h 6858000"/>
              <a:gd name="connsiteX1681" fmla="*/ 1747301 w 5242560"/>
              <a:gd name="connsiteY1681" fmla="*/ 809729 h 6858000"/>
              <a:gd name="connsiteX1682" fmla="*/ 1882018 w 5242560"/>
              <a:gd name="connsiteY1682" fmla="*/ 617376 h 6858000"/>
              <a:gd name="connsiteX1683" fmla="*/ 1917912 w 5242560"/>
              <a:gd name="connsiteY1683" fmla="*/ 604920 h 6858000"/>
              <a:gd name="connsiteX1684" fmla="*/ 963912 w 5242560"/>
              <a:gd name="connsiteY1684" fmla="*/ 604867 h 6858000"/>
              <a:gd name="connsiteX1685" fmla="*/ 1021060 w 5242560"/>
              <a:gd name="connsiteY1685" fmla="*/ 766449 h 6858000"/>
              <a:gd name="connsiteX1686" fmla="*/ 793300 w 5242560"/>
              <a:gd name="connsiteY1686" fmla="*/ 809675 h 6858000"/>
              <a:gd name="connsiteX1687" fmla="*/ 928018 w 5242560"/>
              <a:gd name="connsiteY1687" fmla="*/ 617322 h 6858000"/>
              <a:gd name="connsiteX1688" fmla="*/ 963912 w 5242560"/>
              <a:gd name="connsiteY1688" fmla="*/ 604867 h 6858000"/>
              <a:gd name="connsiteX1689" fmla="*/ 127643 w 5242560"/>
              <a:gd name="connsiteY1689" fmla="*/ 492514 h 6858000"/>
              <a:gd name="connsiteX1690" fmla="*/ 345118 w 5242560"/>
              <a:gd name="connsiteY1690" fmla="*/ 581166 h 6858000"/>
              <a:gd name="connsiteX1691" fmla="*/ 220364 w 5242560"/>
              <a:gd name="connsiteY1691" fmla="*/ 705009 h 6858000"/>
              <a:gd name="connsiteX1692" fmla="*/ 127643 w 5242560"/>
              <a:gd name="connsiteY1692" fmla="*/ 492514 h 6858000"/>
              <a:gd name="connsiteX1693" fmla="*/ 4897486 w 5242560"/>
              <a:gd name="connsiteY1693" fmla="*/ 491658 h 6858000"/>
              <a:gd name="connsiteX1694" fmla="*/ 5114962 w 5242560"/>
              <a:gd name="connsiteY1694" fmla="*/ 580308 h 6858000"/>
              <a:gd name="connsiteX1695" fmla="*/ 4990208 w 5242560"/>
              <a:gd name="connsiteY1695" fmla="*/ 704151 h 6858000"/>
              <a:gd name="connsiteX1696" fmla="*/ 4897486 w 5242560"/>
              <a:gd name="connsiteY1696" fmla="*/ 491658 h 6858000"/>
              <a:gd name="connsiteX1697" fmla="*/ 3943540 w 5242560"/>
              <a:gd name="connsiteY1697" fmla="*/ 491604 h 6858000"/>
              <a:gd name="connsiteX1698" fmla="*/ 4160962 w 5242560"/>
              <a:gd name="connsiteY1698" fmla="*/ 580254 h 6858000"/>
              <a:gd name="connsiteX1699" fmla="*/ 4161016 w 5242560"/>
              <a:gd name="connsiteY1699" fmla="*/ 580254 h 6858000"/>
              <a:gd name="connsiteX1700" fmla="*/ 4036261 w 5242560"/>
              <a:gd name="connsiteY1700" fmla="*/ 704098 h 6858000"/>
              <a:gd name="connsiteX1701" fmla="*/ 3943540 w 5242560"/>
              <a:gd name="connsiteY1701" fmla="*/ 491604 h 6858000"/>
              <a:gd name="connsiteX1702" fmla="*/ 2989592 w 5242560"/>
              <a:gd name="connsiteY1702" fmla="*/ 491551 h 6858000"/>
              <a:gd name="connsiteX1703" fmla="*/ 3207067 w 5242560"/>
              <a:gd name="connsiteY1703" fmla="*/ 580201 h 6858000"/>
              <a:gd name="connsiteX1704" fmla="*/ 3082314 w 5242560"/>
              <a:gd name="connsiteY1704" fmla="*/ 704045 h 6858000"/>
              <a:gd name="connsiteX1705" fmla="*/ 2989592 w 5242560"/>
              <a:gd name="connsiteY1705" fmla="*/ 491551 h 6858000"/>
              <a:gd name="connsiteX1706" fmla="*/ 2035537 w 5242560"/>
              <a:gd name="connsiteY1706" fmla="*/ 491497 h 6858000"/>
              <a:gd name="connsiteX1707" fmla="*/ 2253012 w 5242560"/>
              <a:gd name="connsiteY1707" fmla="*/ 580148 h 6858000"/>
              <a:gd name="connsiteX1708" fmla="*/ 2128259 w 5242560"/>
              <a:gd name="connsiteY1708" fmla="*/ 703992 h 6858000"/>
              <a:gd name="connsiteX1709" fmla="*/ 2035537 w 5242560"/>
              <a:gd name="connsiteY1709" fmla="*/ 491497 h 6858000"/>
              <a:gd name="connsiteX1710" fmla="*/ 1081590 w 5242560"/>
              <a:gd name="connsiteY1710" fmla="*/ 491443 h 6858000"/>
              <a:gd name="connsiteX1711" fmla="*/ 1299065 w 5242560"/>
              <a:gd name="connsiteY1711" fmla="*/ 580094 h 6858000"/>
              <a:gd name="connsiteX1712" fmla="*/ 1174311 w 5242560"/>
              <a:gd name="connsiteY1712" fmla="*/ 703938 h 6858000"/>
              <a:gd name="connsiteX1713" fmla="*/ 1081590 w 5242560"/>
              <a:gd name="connsiteY1713" fmla="*/ 491443 h 6858000"/>
              <a:gd name="connsiteX1714" fmla="*/ 4630142 w 5242560"/>
              <a:gd name="connsiteY1714" fmla="*/ 487051 h 6858000"/>
              <a:gd name="connsiteX1715" fmla="*/ 4541490 w 5242560"/>
              <a:gd name="connsiteY1715" fmla="*/ 704527 h 6858000"/>
              <a:gd name="connsiteX1716" fmla="*/ 4417646 w 5242560"/>
              <a:gd name="connsiteY1716" fmla="*/ 579773 h 6858000"/>
              <a:gd name="connsiteX1717" fmla="*/ 4630142 w 5242560"/>
              <a:gd name="connsiteY1717" fmla="*/ 487051 h 6858000"/>
              <a:gd name="connsiteX1718" fmla="*/ 3676248 w 5242560"/>
              <a:gd name="connsiteY1718" fmla="*/ 486997 h 6858000"/>
              <a:gd name="connsiteX1719" fmla="*/ 3587596 w 5242560"/>
              <a:gd name="connsiteY1719" fmla="*/ 704473 h 6858000"/>
              <a:gd name="connsiteX1720" fmla="*/ 3463753 w 5242560"/>
              <a:gd name="connsiteY1720" fmla="*/ 579719 h 6858000"/>
              <a:gd name="connsiteX1721" fmla="*/ 3676248 w 5242560"/>
              <a:gd name="connsiteY1721" fmla="*/ 486997 h 6858000"/>
              <a:gd name="connsiteX1722" fmla="*/ 2722246 w 5242560"/>
              <a:gd name="connsiteY1722" fmla="*/ 486944 h 6858000"/>
              <a:gd name="connsiteX1723" fmla="*/ 2633595 w 5242560"/>
              <a:gd name="connsiteY1723" fmla="*/ 704420 h 6858000"/>
              <a:gd name="connsiteX1724" fmla="*/ 2509752 w 5242560"/>
              <a:gd name="connsiteY1724" fmla="*/ 579665 h 6858000"/>
              <a:gd name="connsiteX1725" fmla="*/ 2722246 w 5242560"/>
              <a:gd name="connsiteY1725" fmla="*/ 486944 h 6858000"/>
              <a:gd name="connsiteX1726" fmla="*/ 1768192 w 5242560"/>
              <a:gd name="connsiteY1726" fmla="*/ 486890 h 6858000"/>
              <a:gd name="connsiteX1727" fmla="*/ 1679540 w 5242560"/>
              <a:gd name="connsiteY1727" fmla="*/ 704366 h 6858000"/>
              <a:gd name="connsiteX1728" fmla="*/ 1555697 w 5242560"/>
              <a:gd name="connsiteY1728" fmla="*/ 579612 h 6858000"/>
              <a:gd name="connsiteX1729" fmla="*/ 1768192 w 5242560"/>
              <a:gd name="connsiteY1729" fmla="*/ 486890 h 6858000"/>
              <a:gd name="connsiteX1730" fmla="*/ 814244 w 5242560"/>
              <a:gd name="connsiteY1730" fmla="*/ 486836 h 6858000"/>
              <a:gd name="connsiteX1731" fmla="*/ 725593 w 5242560"/>
              <a:gd name="connsiteY1731" fmla="*/ 704312 h 6858000"/>
              <a:gd name="connsiteX1732" fmla="*/ 601750 w 5242560"/>
              <a:gd name="connsiteY1732" fmla="*/ 579559 h 6858000"/>
              <a:gd name="connsiteX1733" fmla="*/ 814244 w 5242560"/>
              <a:gd name="connsiteY1733" fmla="*/ 486836 h 6858000"/>
              <a:gd name="connsiteX1734" fmla="*/ 339977 w 5242560"/>
              <a:gd name="connsiteY1734" fmla="*/ 245835 h 6858000"/>
              <a:gd name="connsiteX1735" fmla="*/ 397612 w 5242560"/>
              <a:gd name="connsiteY1735" fmla="*/ 284734 h 6858000"/>
              <a:gd name="connsiteX1736" fmla="*/ 440786 w 5242560"/>
              <a:gd name="connsiteY1736" fmla="*/ 512495 h 6858000"/>
              <a:gd name="connsiteX1737" fmla="*/ 248485 w 5242560"/>
              <a:gd name="connsiteY1737" fmla="*/ 377777 h 6858000"/>
              <a:gd name="connsiteX1738" fmla="*/ 339977 w 5242560"/>
              <a:gd name="connsiteY1738" fmla="*/ 245835 h 6858000"/>
              <a:gd name="connsiteX1739" fmla="*/ 5109822 w 5242560"/>
              <a:gd name="connsiteY1739" fmla="*/ 244979 h 6858000"/>
              <a:gd name="connsiteX1740" fmla="*/ 5167457 w 5242560"/>
              <a:gd name="connsiteY1740" fmla="*/ 283878 h 6858000"/>
              <a:gd name="connsiteX1741" fmla="*/ 5210630 w 5242560"/>
              <a:gd name="connsiteY1741" fmla="*/ 511637 h 6858000"/>
              <a:gd name="connsiteX1742" fmla="*/ 5018277 w 5242560"/>
              <a:gd name="connsiteY1742" fmla="*/ 376920 h 6858000"/>
              <a:gd name="connsiteX1743" fmla="*/ 5018330 w 5242560"/>
              <a:gd name="connsiteY1743" fmla="*/ 376920 h 6858000"/>
              <a:gd name="connsiteX1744" fmla="*/ 5109822 w 5242560"/>
              <a:gd name="connsiteY1744" fmla="*/ 244979 h 6858000"/>
              <a:gd name="connsiteX1745" fmla="*/ 4155820 w 5242560"/>
              <a:gd name="connsiteY1745" fmla="*/ 244925 h 6858000"/>
              <a:gd name="connsiteX1746" fmla="*/ 4213455 w 5242560"/>
              <a:gd name="connsiteY1746" fmla="*/ 283824 h 6858000"/>
              <a:gd name="connsiteX1747" fmla="*/ 4256629 w 5242560"/>
              <a:gd name="connsiteY1747" fmla="*/ 511584 h 6858000"/>
              <a:gd name="connsiteX1748" fmla="*/ 4064276 w 5242560"/>
              <a:gd name="connsiteY1748" fmla="*/ 376866 h 6858000"/>
              <a:gd name="connsiteX1749" fmla="*/ 4064330 w 5242560"/>
              <a:gd name="connsiteY1749" fmla="*/ 376866 h 6858000"/>
              <a:gd name="connsiteX1750" fmla="*/ 4155820 w 5242560"/>
              <a:gd name="connsiteY1750" fmla="*/ 244925 h 6858000"/>
              <a:gd name="connsiteX1751" fmla="*/ 3201980 w 5242560"/>
              <a:gd name="connsiteY1751" fmla="*/ 244872 h 6858000"/>
              <a:gd name="connsiteX1752" fmla="*/ 3259615 w 5242560"/>
              <a:gd name="connsiteY1752" fmla="*/ 283770 h 6858000"/>
              <a:gd name="connsiteX1753" fmla="*/ 3302842 w 5242560"/>
              <a:gd name="connsiteY1753" fmla="*/ 511530 h 6858000"/>
              <a:gd name="connsiteX1754" fmla="*/ 3110488 w 5242560"/>
              <a:gd name="connsiteY1754" fmla="*/ 376813 h 6858000"/>
              <a:gd name="connsiteX1755" fmla="*/ 3201980 w 5242560"/>
              <a:gd name="connsiteY1755" fmla="*/ 244872 h 6858000"/>
              <a:gd name="connsiteX1756" fmla="*/ 2247925 w 5242560"/>
              <a:gd name="connsiteY1756" fmla="*/ 244818 h 6858000"/>
              <a:gd name="connsiteX1757" fmla="*/ 2305560 w 5242560"/>
              <a:gd name="connsiteY1757" fmla="*/ 283717 h 6858000"/>
              <a:gd name="connsiteX1758" fmla="*/ 2348788 w 5242560"/>
              <a:gd name="connsiteY1758" fmla="*/ 511476 h 6858000"/>
              <a:gd name="connsiteX1759" fmla="*/ 2156435 w 5242560"/>
              <a:gd name="connsiteY1759" fmla="*/ 376760 h 6858000"/>
              <a:gd name="connsiteX1760" fmla="*/ 2247925 w 5242560"/>
              <a:gd name="connsiteY1760" fmla="*/ 244818 h 6858000"/>
              <a:gd name="connsiteX1761" fmla="*/ 1293925 w 5242560"/>
              <a:gd name="connsiteY1761" fmla="*/ 244764 h 6858000"/>
              <a:gd name="connsiteX1762" fmla="*/ 1351559 w 5242560"/>
              <a:gd name="connsiteY1762" fmla="*/ 283663 h 6858000"/>
              <a:gd name="connsiteX1763" fmla="*/ 1394787 w 5242560"/>
              <a:gd name="connsiteY1763" fmla="*/ 511423 h 6858000"/>
              <a:gd name="connsiteX1764" fmla="*/ 1202433 w 5242560"/>
              <a:gd name="connsiteY1764" fmla="*/ 376706 h 6858000"/>
              <a:gd name="connsiteX1765" fmla="*/ 1293925 w 5242560"/>
              <a:gd name="connsiteY1765" fmla="*/ 244764 h 6858000"/>
              <a:gd name="connsiteX1766" fmla="*/ 4308106 w 5242560"/>
              <a:gd name="connsiteY1766" fmla="*/ 188691 h 6858000"/>
              <a:gd name="connsiteX1767" fmla="*/ 4500459 w 5242560"/>
              <a:gd name="connsiteY1767" fmla="*/ 323408 h 6858000"/>
              <a:gd name="connsiteX1768" fmla="*/ 4351332 w 5242560"/>
              <a:gd name="connsiteY1768" fmla="*/ 416452 h 6858000"/>
              <a:gd name="connsiteX1769" fmla="*/ 4308106 w 5242560"/>
              <a:gd name="connsiteY1769" fmla="*/ 188691 h 6858000"/>
              <a:gd name="connsiteX1770" fmla="*/ 3354105 w 5242560"/>
              <a:gd name="connsiteY1770" fmla="*/ 188637 h 6858000"/>
              <a:gd name="connsiteX1771" fmla="*/ 3546458 w 5242560"/>
              <a:gd name="connsiteY1771" fmla="*/ 323355 h 6858000"/>
              <a:gd name="connsiteX1772" fmla="*/ 3397332 w 5242560"/>
              <a:gd name="connsiteY1772" fmla="*/ 416398 h 6858000"/>
              <a:gd name="connsiteX1773" fmla="*/ 3354105 w 5242560"/>
              <a:gd name="connsiteY1773" fmla="*/ 188637 h 6858000"/>
              <a:gd name="connsiteX1774" fmla="*/ 2400264 w 5242560"/>
              <a:gd name="connsiteY1774" fmla="*/ 188584 h 6858000"/>
              <a:gd name="connsiteX1775" fmla="*/ 2592618 w 5242560"/>
              <a:gd name="connsiteY1775" fmla="*/ 323301 h 6858000"/>
              <a:gd name="connsiteX1776" fmla="*/ 2592564 w 5242560"/>
              <a:gd name="connsiteY1776" fmla="*/ 323301 h 6858000"/>
              <a:gd name="connsiteX1777" fmla="*/ 2443438 w 5242560"/>
              <a:gd name="connsiteY1777" fmla="*/ 416345 h 6858000"/>
              <a:gd name="connsiteX1778" fmla="*/ 2400264 w 5242560"/>
              <a:gd name="connsiteY1778" fmla="*/ 188584 h 6858000"/>
              <a:gd name="connsiteX1779" fmla="*/ 1446210 w 5242560"/>
              <a:gd name="connsiteY1779" fmla="*/ 188530 h 6858000"/>
              <a:gd name="connsiteX1780" fmla="*/ 1638563 w 5242560"/>
              <a:gd name="connsiteY1780" fmla="*/ 323247 h 6858000"/>
              <a:gd name="connsiteX1781" fmla="*/ 1638510 w 5242560"/>
              <a:gd name="connsiteY1781" fmla="*/ 323247 h 6858000"/>
              <a:gd name="connsiteX1782" fmla="*/ 1489383 w 5242560"/>
              <a:gd name="connsiteY1782" fmla="*/ 416291 h 6858000"/>
              <a:gd name="connsiteX1783" fmla="*/ 1446210 w 5242560"/>
              <a:gd name="connsiteY1783" fmla="*/ 188530 h 6858000"/>
              <a:gd name="connsiteX1784" fmla="*/ 492209 w 5242560"/>
              <a:gd name="connsiteY1784" fmla="*/ 188477 h 6858000"/>
              <a:gd name="connsiteX1785" fmla="*/ 684562 w 5242560"/>
              <a:gd name="connsiteY1785" fmla="*/ 323194 h 6858000"/>
              <a:gd name="connsiteX1786" fmla="*/ 535436 w 5242560"/>
              <a:gd name="connsiteY1786" fmla="*/ 416237 h 6858000"/>
              <a:gd name="connsiteX1787" fmla="*/ 492209 w 5242560"/>
              <a:gd name="connsiteY1787" fmla="*/ 188477 h 6858000"/>
              <a:gd name="connsiteX1788" fmla="*/ 4988048 w 5242560"/>
              <a:gd name="connsiteY1788" fmla="*/ 0 h 6858000"/>
              <a:gd name="connsiteX1789" fmla="*/ 5112486 w 5242560"/>
              <a:gd name="connsiteY1789" fmla="*/ 0 h 6858000"/>
              <a:gd name="connsiteX1790" fmla="*/ 5112579 w 5242560"/>
              <a:gd name="connsiteY1790" fmla="*/ 67 h 6858000"/>
              <a:gd name="connsiteX1791" fmla="*/ 5114319 w 5242560"/>
              <a:gd name="connsiteY1791" fmla="*/ 122002 h 6858000"/>
              <a:gd name="connsiteX1792" fmla="*/ 4901826 w 5242560"/>
              <a:gd name="connsiteY1792" fmla="*/ 214724 h 6858000"/>
              <a:gd name="connsiteX1793" fmla="*/ 4956746 w 5242560"/>
              <a:gd name="connsiteY1793" fmla="*/ 35477 h 6858000"/>
              <a:gd name="connsiteX1794" fmla="*/ 4669763 w 5242560"/>
              <a:gd name="connsiteY1794" fmla="*/ 0 h 6858000"/>
              <a:gd name="connsiteX1795" fmla="*/ 4890512 w 5242560"/>
              <a:gd name="connsiteY1795" fmla="*/ 0 h 6858000"/>
              <a:gd name="connsiteX1796" fmla="*/ 4880499 w 5242560"/>
              <a:gd name="connsiteY1796" fmla="*/ 16894 h 6858000"/>
              <a:gd name="connsiteX1797" fmla="*/ 4801550 w 5242560"/>
              <a:gd name="connsiteY1797" fmla="*/ 87559 h 6858000"/>
              <a:gd name="connsiteX1798" fmla="*/ 4801550 w 5242560"/>
              <a:gd name="connsiteY1798" fmla="*/ 87506 h 6858000"/>
              <a:gd name="connsiteX1799" fmla="*/ 4670840 w 5242560"/>
              <a:gd name="connsiteY1799" fmla="*/ 27982 h 6858000"/>
              <a:gd name="connsiteX1800" fmla="*/ 4419419 w 5242560"/>
              <a:gd name="connsiteY1800" fmla="*/ 0 h 6858000"/>
              <a:gd name="connsiteX1801" fmla="*/ 4543718 w 5242560"/>
              <a:gd name="connsiteY1801" fmla="*/ 0 h 6858000"/>
              <a:gd name="connsiteX1802" fmla="*/ 4589307 w 5242560"/>
              <a:gd name="connsiteY1802" fmla="*/ 56836 h 6858000"/>
              <a:gd name="connsiteX1803" fmla="*/ 4634534 w 5242560"/>
              <a:gd name="connsiteY1803" fmla="*/ 210117 h 6858000"/>
              <a:gd name="connsiteX1804" fmla="*/ 4417111 w 5242560"/>
              <a:gd name="connsiteY1804" fmla="*/ 121467 h 6858000"/>
              <a:gd name="connsiteX1805" fmla="*/ 4417058 w 5242560"/>
              <a:gd name="connsiteY1805" fmla="*/ 121467 h 6858000"/>
              <a:gd name="connsiteX1806" fmla="*/ 4401114 w 5242560"/>
              <a:gd name="connsiteY1806" fmla="*/ 25448 h 6858000"/>
              <a:gd name="connsiteX1807" fmla="*/ 4034213 w 5242560"/>
              <a:gd name="connsiteY1807" fmla="*/ 0 h 6858000"/>
              <a:gd name="connsiteX1808" fmla="*/ 4158774 w 5242560"/>
              <a:gd name="connsiteY1808" fmla="*/ 0 h 6858000"/>
              <a:gd name="connsiteX1809" fmla="*/ 4158792 w 5242560"/>
              <a:gd name="connsiteY1809" fmla="*/ 13 h 6858000"/>
              <a:gd name="connsiteX1810" fmla="*/ 4160532 w 5242560"/>
              <a:gd name="connsiteY1810" fmla="*/ 121949 h 6858000"/>
              <a:gd name="connsiteX1811" fmla="*/ 3948039 w 5242560"/>
              <a:gd name="connsiteY1811" fmla="*/ 214670 h 6858000"/>
              <a:gd name="connsiteX1812" fmla="*/ 4002959 w 5242560"/>
              <a:gd name="connsiteY1812" fmla="*/ 35423 h 6858000"/>
              <a:gd name="connsiteX1813" fmla="*/ 3715871 w 5242560"/>
              <a:gd name="connsiteY1813" fmla="*/ 0 h 6858000"/>
              <a:gd name="connsiteX1814" fmla="*/ 3936607 w 5242560"/>
              <a:gd name="connsiteY1814" fmla="*/ 0 h 6858000"/>
              <a:gd name="connsiteX1815" fmla="*/ 3926626 w 5242560"/>
              <a:gd name="connsiteY1815" fmla="*/ 16840 h 6858000"/>
              <a:gd name="connsiteX1816" fmla="*/ 3847658 w 5242560"/>
              <a:gd name="connsiteY1816" fmla="*/ 87506 h 6858000"/>
              <a:gd name="connsiteX1817" fmla="*/ 3847658 w 5242560"/>
              <a:gd name="connsiteY1817" fmla="*/ 87452 h 6858000"/>
              <a:gd name="connsiteX1818" fmla="*/ 3716947 w 5242560"/>
              <a:gd name="connsiteY1818" fmla="*/ 27929 h 6858000"/>
              <a:gd name="connsiteX1819" fmla="*/ 3465540 w 5242560"/>
              <a:gd name="connsiteY1819" fmla="*/ 0 h 6858000"/>
              <a:gd name="connsiteX1820" fmla="*/ 3589921 w 5242560"/>
              <a:gd name="connsiteY1820" fmla="*/ 0 h 6858000"/>
              <a:gd name="connsiteX1821" fmla="*/ 3635468 w 5242560"/>
              <a:gd name="connsiteY1821" fmla="*/ 56782 h 6858000"/>
              <a:gd name="connsiteX1822" fmla="*/ 3680694 w 5242560"/>
              <a:gd name="connsiteY1822" fmla="*/ 210063 h 6858000"/>
              <a:gd name="connsiteX1823" fmla="*/ 3463218 w 5242560"/>
              <a:gd name="connsiteY1823" fmla="*/ 121413 h 6858000"/>
              <a:gd name="connsiteX1824" fmla="*/ 3447274 w 5242560"/>
              <a:gd name="connsiteY1824" fmla="*/ 25394 h 6858000"/>
              <a:gd name="connsiteX1825" fmla="*/ 3080111 w 5242560"/>
              <a:gd name="connsiteY1825" fmla="*/ 0 h 6858000"/>
              <a:gd name="connsiteX1826" fmla="*/ 3204765 w 5242560"/>
              <a:gd name="connsiteY1826" fmla="*/ 0 h 6858000"/>
              <a:gd name="connsiteX1827" fmla="*/ 3223298 w 5242560"/>
              <a:gd name="connsiteY1827" fmla="*/ 26167 h 6858000"/>
              <a:gd name="connsiteX1828" fmla="*/ 3206478 w 5242560"/>
              <a:gd name="connsiteY1828" fmla="*/ 121895 h 6858000"/>
              <a:gd name="connsiteX1829" fmla="*/ 2993984 w 5242560"/>
              <a:gd name="connsiteY1829" fmla="*/ 214617 h 6858000"/>
              <a:gd name="connsiteX1830" fmla="*/ 3048904 w 5242560"/>
              <a:gd name="connsiteY1830" fmla="*/ 35370 h 6858000"/>
              <a:gd name="connsiteX1831" fmla="*/ 2761872 w 5242560"/>
              <a:gd name="connsiteY1831" fmla="*/ 0 h 6858000"/>
              <a:gd name="connsiteX1832" fmla="*/ 2982553 w 5242560"/>
              <a:gd name="connsiteY1832" fmla="*/ 0 h 6858000"/>
              <a:gd name="connsiteX1833" fmla="*/ 2972605 w 5242560"/>
              <a:gd name="connsiteY1833" fmla="*/ 16786 h 6858000"/>
              <a:gd name="connsiteX1834" fmla="*/ 2893656 w 5242560"/>
              <a:gd name="connsiteY1834" fmla="*/ 87452 h 6858000"/>
              <a:gd name="connsiteX1835" fmla="*/ 2893656 w 5242560"/>
              <a:gd name="connsiteY1835" fmla="*/ 87399 h 6858000"/>
              <a:gd name="connsiteX1836" fmla="*/ 2762946 w 5242560"/>
              <a:gd name="connsiteY1836" fmla="*/ 27876 h 6858000"/>
              <a:gd name="connsiteX1837" fmla="*/ 2511447 w 5242560"/>
              <a:gd name="connsiteY1837" fmla="*/ 0 h 6858000"/>
              <a:gd name="connsiteX1838" fmla="*/ 2635909 w 5242560"/>
              <a:gd name="connsiteY1838" fmla="*/ 0 h 6858000"/>
              <a:gd name="connsiteX1839" fmla="*/ 2681412 w 5242560"/>
              <a:gd name="connsiteY1839" fmla="*/ 56728 h 6858000"/>
              <a:gd name="connsiteX1840" fmla="*/ 2726639 w 5242560"/>
              <a:gd name="connsiteY1840" fmla="*/ 210010 h 6858000"/>
              <a:gd name="connsiteX1841" fmla="*/ 2509216 w 5242560"/>
              <a:gd name="connsiteY1841" fmla="*/ 121360 h 6858000"/>
              <a:gd name="connsiteX1842" fmla="*/ 2509163 w 5242560"/>
              <a:gd name="connsiteY1842" fmla="*/ 121360 h 6858000"/>
              <a:gd name="connsiteX1843" fmla="*/ 2493219 w 5242560"/>
              <a:gd name="connsiteY1843" fmla="*/ 25341 h 6858000"/>
              <a:gd name="connsiteX1844" fmla="*/ 2126064 w 5242560"/>
              <a:gd name="connsiteY1844" fmla="*/ 0 h 6858000"/>
              <a:gd name="connsiteX1845" fmla="*/ 2250803 w 5242560"/>
              <a:gd name="connsiteY1845" fmla="*/ 0 h 6858000"/>
              <a:gd name="connsiteX1846" fmla="*/ 2269298 w 5242560"/>
              <a:gd name="connsiteY1846" fmla="*/ 26113 h 6858000"/>
              <a:gd name="connsiteX1847" fmla="*/ 2252477 w 5242560"/>
              <a:gd name="connsiteY1847" fmla="*/ 121842 h 6858000"/>
              <a:gd name="connsiteX1848" fmla="*/ 2039983 w 5242560"/>
              <a:gd name="connsiteY1848" fmla="*/ 214563 h 6858000"/>
              <a:gd name="connsiteX1849" fmla="*/ 2094903 w 5242560"/>
              <a:gd name="connsiteY1849" fmla="*/ 35317 h 6858000"/>
              <a:gd name="connsiteX1850" fmla="*/ 1807819 w 5242560"/>
              <a:gd name="connsiteY1850" fmla="*/ 0 h 6858000"/>
              <a:gd name="connsiteX1851" fmla="*/ 2028467 w 5242560"/>
              <a:gd name="connsiteY1851" fmla="*/ 0 h 6858000"/>
              <a:gd name="connsiteX1852" fmla="*/ 2018550 w 5242560"/>
              <a:gd name="connsiteY1852" fmla="*/ 16733 h 6858000"/>
              <a:gd name="connsiteX1853" fmla="*/ 1939602 w 5242560"/>
              <a:gd name="connsiteY1853" fmla="*/ 87399 h 6858000"/>
              <a:gd name="connsiteX1854" fmla="*/ 1939602 w 5242560"/>
              <a:gd name="connsiteY1854" fmla="*/ 87346 h 6858000"/>
              <a:gd name="connsiteX1855" fmla="*/ 1808891 w 5242560"/>
              <a:gd name="connsiteY1855" fmla="*/ 27822 h 6858000"/>
              <a:gd name="connsiteX1856" fmla="*/ 1557407 w 5242560"/>
              <a:gd name="connsiteY1856" fmla="*/ 0 h 6858000"/>
              <a:gd name="connsiteX1857" fmla="*/ 1681951 w 5242560"/>
              <a:gd name="connsiteY1857" fmla="*/ 0 h 6858000"/>
              <a:gd name="connsiteX1858" fmla="*/ 1727404 w 5242560"/>
              <a:gd name="connsiteY1858" fmla="*/ 56675 h 6858000"/>
              <a:gd name="connsiteX1859" fmla="*/ 1772638 w 5242560"/>
              <a:gd name="connsiteY1859" fmla="*/ 209957 h 6858000"/>
              <a:gd name="connsiteX1860" fmla="*/ 1555162 w 5242560"/>
              <a:gd name="connsiteY1860" fmla="*/ 121306 h 6858000"/>
              <a:gd name="connsiteX1861" fmla="*/ 1539218 w 5242560"/>
              <a:gd name="connsiteY1861" fmla="*/ 25287 h 6858000"/>
              <a:gd name="connsiteX1862" fmla="*/ 1172070 w 5242560"/>
              <a:gd name="connsiteY1862" fmla="*/ 0 h 6858000"/>
              <a:gd name="connsiteX1863" fmla="*/ 1296894 w 5242560"/>
              <a:gd name="connsiteY1863" fmla="*/ 0 h 6858000"/>
              <a:gd name="connsiteX1864" fmla="*/ 1315350 w 5242560"/>
              <a:gd name="connsiteY1864" fmla="*/ 26060 h 6858000"/>
              <a:gd name="connsiteX1865" fmla="*/ 1298529 w 5242560"/>
              <a:gd name="connsiteY1865" fmla="*/ 121788 h 6858000"/>
              <a:gd name="connsiteX1866" fmla="*/ 1086036 w 5242560"/>
              <a:gd name="connsiteY1866" fmla="*/ 214509 h 6858000"/>
              <a:gd name="connsiteX1867" fmla="*/ 1140956 w 5242560"/>
              <a:gd name="connsiteY1867" fmla="*/ 35263 h 6858000"/>
              <a:gd name="connsiteX1868" fmla="*/ 853874 w 5242560"/>
              <a:gd name="connsiteY1868" fmla="*/ 0 h 6858000"/>
              <a:gd name="connsiteX1869" fmla="*/ 1074488 w 5242560"/>
              <a:gd name="connsiteY1869" fmla="*/ 0 h 6858000"/>
              <a:gd name="connsiteX1870" fmla="*/ 1064603 w 5242560"/>
              <a:gd name="connsiteY1870" fmla="*/ 16679 h 6858000"/>
              <a:gd name="connsiteX1871" fmla="*/ 985653 w 5242560"/>
              <a:gd name="connsiteY1871" fmla="*/ 87346 h 6858000"/>
              <a:gd name="connsiteX1872" fmla="*/ 985653 w 5242560"/>
              <a:gd name="connsiteY1872" fmla="*/ 87292 h 6858000"/>
              <a:gd name="connsiteX1873" fmla="*/ 854944 w 5242560"/>
              <a:gd name="connsiteY1873" fmla="*/ 27768 h 6858000"/>
              <a:gd name="connsiteX1874" fmla="*/ 603422 w 5242560"/>
              <a:gd name="connsiteY1874" fmla="*/ 0 h 6858000"/>
              <a:gd name="connsiteX1875" fmla="*/ 728047 w 5242560"/>
              <a:gd name="connsiteY1875" fmla="*/ 0 h 6858000"/>
              <a:gd name="connsiteX1876" fmla="*/ 773457 w 5242560"/>
              <a:gd name="connsiteY1876" fmla="*/ 56622 h 6858000"/>
              <a:gd name="connsiteX1877" fmla="*/ 818690 w 5242560"/>
              <a:gd name="connsiteY1877" fmla="*/ 209903 h 6858000"/>
              <a:gd name="connsiteX1878" fmla="*/ 601214 w 5242560"/>
              <a:gd name="connsiteY1878" fmla="*/ 121252 h 6858000"/>
              <a:gd name="connsiteX1879" fmla="*/ 585271 w 5242560"/>
              <a:gd name="connsiteY1879" fmla="*/ 25234 h 6858000"/>
              <a:gd name="connsiteX1880" fmla="*/ 218912 w 5242560"/>
              <a:gd name="connsiteY1880" fmla="*/ 0 h 6858000"/>
              <a:gd name="connsiteX1881" fmla="*/ 341524 w 5242560"/>
              <a:gd name="connsiteY1881" fmla="*/ 0 h 6858000"/>
              <a:gd name="connsiteX1882" fmla="*/ 342734 w 5242560"/>
              <a:gd name="connsiteY1882" fmla="*/ 871 h 6858000"/>
              <a:gd name="connsiteX1883" fmla="*/ 344475 w 5242560"/>
              <a:gd name="connsiteY1883" fmla="*/ 122805 h 6858000"/>
              <a:gd name="connsiteX1884" fmla="*/ 131981 w 5242560"/>
              <a:gd name="connsiteY1884" fmla="*/ 215528 h 6858000"/>
              <a:gd name="connsiteX1885" fmla="*/ 186901 w 5242560"/>
              <a:gd name="connsiteY1885" fmla="*/ 36281 h 6858000"/>
              <a:gd name="connsiteX1886" fmla="*/ 0 w 5242560"/>
              <a:gd name="connsiteY1886" fmla="*/ 0 h 6858000"/>
              <a:gd name="connsiteX1887" fmla="*/ 121196 w 5242560"/>
              <a:gd name="connsiteY1887" fmla="*/ 0 h 6858000"/>
              <a:gd name="connsiteX1888" fmla="*/ 110675 w 5242560"/>
              <a:gd name="connsiteY1888" fmla="*/ 17750 h 6858000"/>
              <a:gd name="connsiteX1889" fmla="*/ 31706 w 5242560"/>
              <a:gd name="connsiteY1889" fmla="*/ 88417 h 6858000"/>
              <a:gd name="connsiteX1890" fmla="*/ 31706 w 5242560"/>
              <a:gd name="connsiteY1890" fmla="*/ 88363 h 6858000"/>
              <a:gd name="connsiteX1891" fmla="*/ 0 w 5242560"/>
              <a:gd name="connsiteY1891" fmla="*/ 993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</a:cxnLst>
            <a:rect l="l" t="t" r="r" b="b"/>
            <a:pathLst>
              <a:path w="5242560" h="6858000">
                <a:moveTo>
                  <a:pt x="0" y="6810281"/>
                </a:moveTo>
                <a:lnTo>
                  <a:pt x="8255" y="6830233"/>
                </a:lnTo>
                <a:lnTo>
                  <a:pt x="9325" y="6858000"/>
                </a:lnTo>
                <a:lnTo>
                  <a:pt x="0" y="6858000"/>
                </a:lnTo>
                <a:close/>
                <a:moveTo>
                  <a:pt x="4683390" y="6758253"/>
                </a:moveTo>
                <a:cubicBezTo>
                  <a:pt x="4729827" y="6752695"/>
                  <a:pt x="4768744" y="6788406"/>
                  <a:pt x="4778207" y="6830233"/>
                </a:cubicBezTo>
                <a:lnTo>
                  <a:pt x="4779276" y="6858000"/>
                </a:lnTo>
                <a:lnTo>
                  <a:pt x="4558663" y="6858000"/>
                </a:lnTo>
                <a:lnTo>
                  <a:pt x="4568548" y="6841322"/>
                </a:lnTo>
                <a:cubicBezTo>
                  <a:pt x="4591895" y="6810000"/>
                  <a:pt x="4619106" y="6787181"/>
                  <a:pt x="4647496" y="6770656"/>
                </a:cubicBezTo>
                <a:lnTo>
                  <a:pt x="4647496" y="6770709"/>
                </a:lnTo>
                <a:cubicBezTo>
                  <a:pt x="4659702" y="6763612"/>
                  <a:pt x="4671781" y="6759643"/>
                  <a:pt x="4683390" y="6758253"/>
                </a:cubicBezTo>
                <a:close/>
                <a:moveTo>
                  <a:pt x="3729443" y="6758253"/>
                </a:moveTo>
                <a:cubicBezTo>
                  <a:pt x="3775879" y="6752695"/>
                  <a:pt x="3814796" y="6788406"/>
                  <a:pt x="3824259" y="6830233"/>
                </a:cubicBezTo>
                <a:lnTo>
                  <a:pt x="3825329" y="6858000"/>
                </a:lnTo>
                <a:lnTo>
                  <a:pt x="3604716" y="6858000"/>
                </a:lnTo>
                <a:lnTo>
                  <a:pt x="3614600" y="6841322"/>
                </a:lnTo>
                <a:cubicBezTo>
                  <a:pt x="3637948" y="6810000"/>
                  <a:pt x="3665159" y="6787181"/>
                  <a:pt x="3693548" y="6770656"/>
                </a:cubicBezTo>
                <a:lnTo>
                  <a:pt x="3693548" y="6770709"/>
                </a:lnTo>
                <a:cubicBezTo>
                  <a:pt x="3705754" y="6763612"/>
                  <a:pt x="3717833" y="6759643"/>
                  <a:pt x="3729443" y="6758253"/>
                </a:cubicBezTo>
                <a:close/>
                <a:moveTo>
                  <a:pt x="2775442" y="6758253"/>
                </a:moveTo>
                <a:cubicBezTo>
                  <a:pt x="2821879" y="6752695"/>
                  <a:pt x="2860796" y="6788406"/>
                  <a:pt x="2870258" y="6830233"/>
                </a:cubicBezTo>
                <a:lnTo>
                  <a:pt x="2871328" y="6858000"/>
                </a:lnTo>
                <a:lnTo>
                  <a:pt x="2650715" y="6858000"/>
                </a:lnTo>
                <a:lnTo>
                  <a:pt x="2660599" y="6841322"/>
                </a:lnTo>
                <a:cubicBezTo>
                  <a:pt x="2683947" y="6810000"/>
                  <a:pt x="2711158" y="6787181"/>
                  <a:pt x="2739548" y="6770656"/>
                </a:cubicBezTo>
                <a:lnTo>
                  <a:pt x="2739548" y="6770709"/>
                </a:lnTo>
                <a:cubicBezTo>
                  <a:pt x="2751754" y="6763612"/>
                  <a:pt x="2763833" y="6759643"/>
                  <a:pt x="2775442" y="6758253"/>
                </a:cubicBezTo>
                <a:close/>
                <a:moveTo>
                  <a:pt x="1821494" y="6758253"/>
                </a:moveTo>
                <a:cubicBezTo>
                  <a:pt x="1867931" y="6752695"/>
                  <a:pt x="1906848" y="6788406"/>
                  <a:pt x="1916311" y="6830233"/>
                </a:cubicBezTo>
                <a:lnTo>
                  <a:pt x="1917381" y="6858000"/>
                </a:lnTo>
                <a:lnTo>
                  <a:pt x="1696768" y="6858000"/>
                </a:lnTo>
                <a:lnTo>
                  <a:pt x="1706652" y="6841322"/>
                </a:lnTo>
                <a:cubicBezTo>
                  <a:pt x="1730000" y="6810000"/>
                  <a:pt x="1757211" y="6787181"/>
                  <a:pt x="1785600" y="6770656"/>
                </a:cubicBezTo>
                <a:lnTo>
                  <a:pt x="1785600" y="6770709"/>
                </a:lnTo>
                <a:cubicBezTo>
                  <a:pt x="1797806" y="6763612"/>
                  <a:pt x="1809885" y="6759643"/>
                  <a:pt x="1821494" y="6758253"/>
                </a:cubicBezTo>
                <a:close/>
                <a:moveTo>
                  <a:pt x="867440" y="6758253"/>
                </a:moveTo>
                <a:cubicBezTo>
                  <a:pt x="913877" y="6752695"/>
                  <a:pt x="952794" y="6788406"/>
                  <a:pt x="962256" y="6830233"/>
                </a:cubicBezTo>
                <a:lnTo>
                  <a:pt x="963326" y="6858000"/>
                </a:lnTo>
                <a:lnTo>
                  <a:pt x="742713" y="6858000"/>
                </a:lnTo>
                <a:lnTo>
                  <a:pt x="752597" y="6841322"/>
                </a:lnTo>
                <a:cubicBezTo>
                  <a:pt x="775945" y="6810000"/>
                  <a:pt x="803156" y="6787181"/>
                  <a:pt x="831546" y="6770656"/>
                </a:cubicBezTo>
                <a:lnTo>
                  <a:pt x="831546" y="6770709"/>
                </a:lnTo>
                <a:cubicBezTo>
                  <a:pt x="843752" y="6763612"/>
                  <a:pt x="855831" y="6759643"/>
                  <a:pt x="867440" y="6758253"/>
                </a:cubicBezTo>
                <a:close/>
                <a:moveTo>
                  <a:pt x="4801014" y="6644830"/>
                </a:moveTo>
                <a:cubicBezTo>
                  <a:pt x="4905306" y="6647616"/>
                  <a:pt x="4973656" y="6685433"/>
                  <a:pt x="5018490" y="6733481"/>
                </a:cubicBezTo>
                <a:cubicBezTo>
                  <a:pt x="5057004" y="6774781"/>
                  <a:pt x="5046264" y="6825213"/>
                  <a:pt x="5015672" y="6855584"/>
                </a:cubicBezTo>
                <a:lnTo>
                  <a:pt x="5012261" y="6858000"/>
                </a:lnTo>
                <a:lnTo>
                  <a:pt x="4894795" y="6858000"/>
                </a:lnTo>
                <a:lnTo>
                  <a:pt x="4893737" y="6857325"/>
                </a:lnTo>
                <a:cubicBezTo>
                  <a:pt x="4815156" y="6782494"/>
                  <a:pt x="4802086" y="6684362"/>
                  <a:pt x="4801014" y="6644830"/>
                </a:cubicBezTo>
                <a:close/>
                <a:moveTo>
                  <a:pt x="3847068" y="6644830"/>
                </a:moveTo>
                <a:cubicBezTo>
                  <a:pt x="3951359" y="6647616"/>
                  <a:pt x="4019709" y="6685433"/>
                  <a:pt x="4064543" y="6733481"/>
                </a:cubicBezTo>
                <a:cubicBezTo>
                  <a:pt x="4103056" y="6774781"/>
                  <a:pt x="4092317" y="6825213"/>
                  <a:pt x="4061724" y="6855584"/>
                </a:cubicBezTo>
                <a:lnTo>
                  <a:pt x="4058313" y="6858000"/>
                </a:lnTo>
                <a:lnTo>
                  <a:pt x="3940848" y="6858000"/>
                </a:lnTo>
                <a:lnTo>
                  <a:pt x="3939790" y="6857325"/>
                </a:lnTo>
                <a:cubicBezTo>
                  <a:pt x="3861209" y="6782494"/>
                  <a:pt x="3848139" y="6684362"/>
                  <a:pt x="3847068" y="6644830"/>
                </a:cubicBezTo>
                <a:close/>
                <a:moveTo>
                  <a:pt x="2893066" y="6644830"/>
                </a:moveTo>
                <a:cubicBezTo>
                  <a:pt x="2997358" y="6647616"/>
                  <a:pt x="3065708" y="6685433"/>
                  <a:pt x="3110542" y="6733481"/>
                </a:cubicBezTo>
                <a:cubicBezTo>
                  <a:pt x="3149055" y="6774781"/>
                  <a:pt x="3138316" y="6825213"/>
                  <a:pt x="3107723" y="6855584"/>
                </a:cubicBezTo>
                <a:lnTo>
                  <a:pt x="3104312" y="6858000"/>
                </a:lnTo>
                <a:lnTo>
                  <a:pt x="2986847" y="6858000"/>
                </a:lnTo>
                <a:lnTo>
                  <a:pt x="2985789" y="6857325"/>
                </a:lnTo>
                <a:cubicBezTo>
                  <a:pt x="2907208" y="6782494"/>
                  <a:pt x="2894138" y="6684362"/>
                  <a:pt x="2893066" y="6644830"/>
                </a:cubicBezTo>
                <a:close/>
                <a:moveTo>
                  <a:pt x="1939172" y="6644830"/>
                </a:moveTo>
                <a:cubicBezTo>
                  <a:pt x="2043464" y="6647616"/>
                  <a:pt x="2111814" y="6685433"/>
                  <a:pt x="2156648" y="6733481"/>
                </a:cubicBezTo>
                <a:cubicBezTo>
                  <a:pt x="2195162" y="6774781"/>
                  <a:pt x="2184422" y="6825213"/>
                  <a:pt x="2153830" y="6855584"/>
                </a:cubicBezTo>
                <a:lnTo>
                  <a:pt x="2150419" y="6858000"/>
                </a:lnTo>
                <a:lnTo>
                  <a:pt x="2032953" y="6858000"/>
                </a:lnTo>
                <a:lnTo>
                  <a:pt x="2031895" y="6857325"/>
                </a:lnTo>
                <a:cubicBezTo>
                  <a:pt x="1953314" y="6782494"/>
                  <a:pt x="1940191" y="6684362"/>
                  <a:pt x="1939172" y="6644830"/>
                </a:cubicBezTo>
                <a:close/>
                <a:moveTo>
                  <a:pt x="985064" y="6644830"/>
                </a:moveTo>
                <a:cubicBezTo>
                  <a:pt x="1089356" y="6647616"/>
                  <a:pt x="1157706" y="6685433"/>
                  <a:pt x="1202540" y="6733481"/>
                </a:cubicBezTo>
                <a:cubicBezTo>
                  <a:pt x="1241054" y="6774781"/>
                  <a:pt x="1230314" y="6825213"/>
                  <a:pt x="1199722" y="6855584"/>
                </a:cubicBezTo>
                <a:lnTo>
                  <a:pt x="1196310" y="6858000"/>
                </a:lnTo>
                <a:lnTo>
                  <a:pt x="1078845" y="6858000"/>
                </a:lnTo>
                <a:lnTo>
                  <a:pt x="1077787" y="6857325"/>
                </a:lnTo>
                <a:cubicBezTo>
                  <a:pt x="999206" y="6782494"/>
                  <a:pt x="986136" y="6684362"/>
                  <a:pt x="985064" y="6644830"/>
                </a:cubicBezTo>
                <a:close/>
                <a:moveTo>
                  <a:pt x="31117" y="6644830"/>
                </a:moveTo>
                <a:cubicBezTo>
                  <a:pt x="135409" y="6647616"/>
                  <a:pt x="203759" y="6685433"/>
                  <a:pt x="248593" y="6733481"/>
                </a:cubicBezTo>
                <a:cubicBezTo>
                  <a:pt x="287106" y="6774781"/>
                  <a:pt x="276367" y="6825213"/>
                  <a:pt x="245774" y="6855584"/>
                </a:cubicBezTo>
                <a:lnTo>
                  <a:pt x="242363" y="6858000"/>
                </a:lnTo>
                <a:lnTo>
                  <a:pt x="124898" y="6858000"/>
                </a:lnTo>
                <a:lnTo>
                  <a:pt x="123839" y="6857325"/>
                </a:lnTo>
                <a:cubicBezTo>
                  <a:pt x="45258" y="6782494"/>
                  <a:pt x="32189" y="6684362"/>
                  <a:pt x="31117" y="6644830"/>
                </a:cubicBezTo>
                <a:close/>
                <a:moveTo>
                  <a:pt x="4533669" y="6640224"/>
                </a:moveTo>
                <a:cubicBezTo>
                  <a:pt x="4530884" y="6744516"/>
                  <a:pt x="4493068" y="6812865"/>
                  <a:pt x="4445019" y="6857699"/>
                </a:cubicBezTo>
                <a:lnTo>
                  <a:pt x="4444536" y="6858000"/>
                </a:lnTo>
                <a:lnTo>
                  <a:pt x="4327254" y="6858000"/>
                </a:lnTo>
                <a:lnTo>
                  <a:pt x="4322917" y="6854881"/>
                </a:lnTo>
                <a:cubicBezTo>
                  <a:pt x="4292545" y="6824288"/>
                  <a:pt x="4282234" y="6773843"/>
                  <a:pt x="4321176" y="6732946"/>
                </a:cubicBezTo>
                <a:cubicBezTo>
                  <a:pt x="4396007" y="6654365"/>
                  <a:pt x="4494138" y="6641295"/>
                  <a:pt x="4533669" y="6640224"/>
                </a:cubicBezTo>
                <a:close/>
                <a:moveTo>
                  <a:pt x="3579723" y="6640224"/>
                </a:moveTo>
                <a:cubicBezTo>
                  <a:pt x="3576937" y="6744516"/>
                  <a:pt x="3539120" y="6812865"/>
                  <a:pt x="3491072" y="6857699"/>
                </a:cubicBezTo>
                <a:lnTo>
                  <a:pt x="3490589" y="6858000"/>
                </a:lnTo>
                <a:lnTo>
                  <a:pt x="3373306" y="6858000"/>
                </a:lnTo>
                <a:lnTo>
                  <a:pt x="3368969" y="6854881"/>
                </a:lnTo>
                <a:cubicBezTo>
                  <a:pt x="3338597" y="6824288"/>
                  <a:pt x="3328286" y="6773843"/>
                  <a:pt x="3367228" y="6732946"/>
                </a:cubicBezTo>
                <a:cubicBezTo>
                  <a:pt x="3442058" y="6654365"/>
                  <a:pt x="3540191" y="6641295"/>
                  <a:pt x="3579723" y="6640224"/>
                </a:cubicBezTo>
                <a:close/>
                <a:moveTo>
                  <a:pt x="2625722" y="6640224"/>
                </a:moveTo>
                <a:cubicBezTo>
                  <a:pt x="2622936" y="6744516"/>
                  <a:pt x="2585119" y="6812865"/>
                  <a:pt x="2537070" y="6857699"/>
                </a:cubicBezTo>
                <a:lnTo>
                  <a:pt x="2536588" y="6858000"/>
                </a:lnTo>
                <a:lnTo>
                  <a:pt x="2419305" y="6858000"/>
                </a:lnTo>
                <a:lnTo>
                  <a:pt x="2414968" y="6854881"/>
                </a:lnTo>
                <a:cubicBezTo>
                  <a:pt x="2384596" y="6824288"/>
                  <a:pt x="2374285" y="6773843"/>
                  <a:pt x="2413227" y="6732946"/>
                </a:cubicBezTo>
                <a:cubicBezTo>
                  <a:pt x="2488058" y="6654365"/>
                  <a:pt x="2586190" y="6641295"/>
                  <a:pt x="2625722" y="6640224"/>
                </a:cubicBezTo>
                <a:close/>
                <a:moveTo>
                  <a:pt x="1671827" y="6640224"/>
                </a:moveTo>
                <a:cubicBezTo>
                  <a:pt x="1669042" y="6744516"/>
                  <a:pt x="1631225" y="6812865"/>
                  <a:pt x="1583177" y="6857699"/>
                </a:cubicBezTo>
                <a:lnTo>
                  <a:pt x="1582695" y="6858000"/>
                </a:lnTo>
                <a:lnTo>
                  <a:pt x="1465411" y="6858000"/>
                </a:lnTo>
                <a:lnTo>
                  <a:pt x="1461074" y="6854881"/>
                </a:lnTo>
                <a:cubicBezTo>
                  <a:pt x="1430702" y="6824288"/>
                  <a:pt x="1420391" y="6773843"/>
                  <a:pt x="1459333" y="6732946"/>
                </a:cubicBezTo>
                <a:cubicBezTo>
                  <a:pt x="1534164" y="6654365"/>
                  <a:pt x="1632296" y="6641295"/>
                  <a:pt x="1671827" y="6640224"/>
                </a:cubicBezTo>
                <a:close/>
                <a:moveTo>
                  <a:pt x="717720" y="6640224"/>
                </a:moveTo>
                <a:cubicBezTo>
                  <a:pt x="714934" y="6744516"/>
                  <a:pt x="677117" y="6812865"/>
                  <a:pt x="629069" y="6857699"/>
                </a:cubicBezTo>
                <a:lnTo>
                  <a:pt x="628586" y="6858000"/>
                </a:lnTo>
                <a:lnTo>
                  <a:pt x="511303" y="6858000"/>
                </a:lnTo>
                <a:lnTo>
                  <a:pt x="506966" y="6854881"/>
                </a:lnTo>
                <a:cubicBezTo>
                  <a:pt x="476594" y="6824288"/>
                  <a:pt x="466283" y="6773843"/>
                  <a:pt x="505225" y="6732946"/>
                </a:cubicBezTo>
                <a:cubicBezTo>
                  <a:pt x="580056" y="6654365"/>
                  <a:pt x="678188" y="6641295"/>
                  <a:pt x="717720" y="6640224"/>
                </a:cubicBezTo>
                <a:close/>
                <a:moveTo>
                  <a:pt x="5013404" y="6398098"/>
                </a:moveTo>
                <a:cubicBezTo>
                  <a:pt x="5034748" y="6401416"/>
                  <a:pt x="5055424" y="6413468"/>
                  <a:pt x="5071038" y="6436997"/>
                </a:cubicBezTo>
                <a:cubicBezTo>
                  <a:pt x="5131032" y="6527416"/>
                  <a:pt x="5122034" y="6626029"/>
                  <a:pt x="5114266" y="6664757"/>
                </a:cubicBezTo>
                <a:cubicBezTo>
                  <a:pt x="5013188" y="6638885"/>
                  <a:pt x="4954962" y="6586819"/>
                  <a:pt x="4921912" y="6530040"/>
                </a:cubicBezTo>
                <a:cubicBezTo>
                  <a:pt x="4879328" y="6456803"/>
                  <a:pt x="4949372" y="6388145"/>
                  <a:pt x="5013404" y="6398098"/>
                </a:cubicBezTo>
                <a:close/>
                <a:moveTo>
                  <a:pt x="4059456" y="6398098"/>
                </a:moveTo>
                <a:cubicBezTo>
                  <a:pt x="4080801" y="6401416"/>
                  <a:pt x="4101477" y="6413468"/>
                  <a:pt x="4117091" y="6436997"/>
                </a:cubicBezTo>
                <a:cubicBezTo>
                  <a:pt x="4177084" y="6527416"/>
                  <a:pt x="4168032" y="6626029"/>
                  <a:pt x="4160265" y="6664757"/>
                </a:cubicBezTo>
                <a:cubicBezTo>
                  <a:pt x="4059187" y="6638885"/>
                  <a:pt x="4000962" y="6586819"/>
                  <a:pt x="3967911" y="6530040"/>
                </a:cubicBezTo>
                <a:lnTo>
                  <a:pt x="3967965" y="6530040"/>
                </a:lnTo>
                <a:cubicBezTo>
                  <a:pt x="3925381" y="6456803"/>
                  <a:pt x="3995424" y="6388145"/>
                  <a:pt x="4059456" y="6398098"/>
                </a:cubicBezTo>
                <a:close/>
                <a:moveTo>
                  <a:pt x="3105455" y="6398098"/>
                </a:moveTo>
                <a:cubicBezTo>
                  <a:pt x="3126800" y="6401416"/>
                  <a:pt x="3147476" y="6413468"/>
                  <a:pt x="3163090" y="6436997"/>
                </a:cubicBezTo>
                <a:cubicBezTo>
                  <a:pt x="3223137" y="6527416"/>
                  <a:pt x="3214084" y="6626029"/>
                  <a:pt x="3206318" y="6664757"/>
                </a:cubicBezTo>
                <a:cubicBezTo>
                  <a:pt x="3105240" y="6638885"/>
                  <a:pt x="3047014" y="6586819"/>
                  <a:pt x="3013964" y="6530040"/>
                </a:cubicBezTo>
                <a:cubicBezTo>
                  <a:pt x="2971379" y="6456803"/>
                  <a:pt x="3041423" y="6388145"/>
                  <a:pt x="3105455" y="6398098"/>
                </a:cubicBezTo>
                <a:close/>
                <a:moveTo>
                  <a:pt x="2151508" y="6398098"/>
                </a:moveTo>
                <a:cubicBezTo>
                  <a:pt x="2172853" y="6401416"/>
                  <a:pt x="2193529" y="6413468"/>
                  <a:pt x="2209143" y="6436997"/>
                </a:cubicBezTo>
                <a:cubicBezTo>
                  <a:pt x="2269136" y="6527416"/>
                  <a:pt x="2260083" y="6626029"/>
                  <a:pt x="2252317" y="6664757"/>
                </a:cubicBezTo>
                <a:cubicBezTo>
                  <a:pt x="2151239" y="6638885"/>
                  <a:pt x="2093013" y="6586819"/>
                  <a:pt x="2059963" y="6530040"/>
                </a:cubicBezTo>
                <a:lnTo>
                  <a:pt x="2060016" y="6530040"/>
                </a:lnTo>
                <a:cubicBezTo>
                  <a:pt x="2017432" y="6456803"/>
                  <a:pt x="2087476" y="6388145"/>
                  <a:pt x="2151508" y="6398098"/>
                </a:cubicBezTo>
                <a:close/>
                <a:moveTo>
                  <a:pt x="1197454" y="6398098"/>
                </a:moveTo>
                <a:cubicBezTo>
                  <a:pt x="1218798" y="6401416"/>
                  <a:pt x="1239474" y="6413468"/>
                  <a:pt x="1255088" y="6436997"/>
                </a:cubicBezTo>
                <a:cubicBezTo>
                  <a:pt x="1315135" y="6527416"/>
                  <a:pt x="1306082" y="6626029"/>
                  <a:pt x="1298316" y="6664757"/>
                </a:cubicBezTo>
                <a:cubicBezTo>
                  <a:pt x="1197238" y="6638885"/>
                  <a:pt x="1139012" y="6586819"/>
                  <a:pt x="1105962" y="6530040"/>
                </a:cubicBezTo>
                <a:cubicBezTo>
                  <a:pt x="1063378" y="6456803"/>
                  <a:pt x="1133421" y="6388145"/>
                  <a:pt x="1197454" y="6398098"/>
                </a:cubicBezTo>
                <a:close/>
                <a:moveTo>
                  <a:pt x="243452" y="6398098"/>
                </a:moveTo>
                <a:cubicBezTo>
                  <a:pt x="264797" y="6401416"/>
                  <a:pt x="285473" y="6413468"/>
                  <a:pt x="301087" y="6436997"/>
                </a:cubicBezTo>
                <a:cubicBezTo>
                  <a:pt x="361080" y="6527416"/>
                  <a:pt x="352081" y="6626029"/>
                  <a:pt x="344315" y="6664757"/>
                </a:cubicBezTo>
                <a:cubicBezTo>
                  <a:pt x="243237" y="6638885"/>
                  <a:pt x="185011" y="6586819"/>
                  <a:pt x="151961" y="6530040"/>
                </a:cubicBezTo>
                <a:cubicBezTo>
                  <a:pt x="109376" y="6456803"/>
                  <a:pt x="179420" y="6388145"/>
                  <a:pt x="243452" y="6398098"/>
                </a:cubicBezTo>
                <a:close/>
                <a:moveTo>
                  <a:pt x="5165582" y="6341864"/>
                </a:moveTo>
                <a:cubicBezTo>
                  <a:pt x="5190838" y="6348332"/>
                  <a:pt x="5213422" y="6356437"/>
                  <a:pt x="5233608" y="6365844"/>
                </a:cubicBezTo>
                <a:lnTo>
                  <a:pt x="5242560" y="6371149"/>
                </a:lnTo>
                <a:lnTo>
                  <a:pt x="5242560" y="6599389"/>
                </a:lnTo>
                <a:lnTo>
                  <a:pt x="5235424" y="6596654"/>
                </a:lnTo>
                <a:cubicBezTo>
                  <a:pt x="5225636" y="6590285"/>
                  <a:pt x="5216563" y="6581390"/>
                  <a:pt x="5208756" y="6569625"/>
                </a:cubicBezTo>
                <a:cubicBezTo>
                  <a:pt x="5148762" y="6479207"/>
                  <a:pt x="5157815" y="6380593"/>
                  <a:pt x="5165582" y="6341864"/>
                </a:cubicBezTo>
                <a:close/>
                <a:moveTo>
                  <a:pt x="4211688" y="6341864"/>
                </a:moveTo>
                <a:cubicBezTo>
                  <a:pt x="4312766" y="6367736"/>
                  <a:pt x="4370992" y="6419801"/>
                  <a:pt x="4404042" y="6476582"/>
                </a:cubicBezTo>
                <a:lnTo>
                  <a:pt x="4403988" y="6476582"/>
                </a:lnTo>
                <a:cubicBezTo>
                  <a:pt x="4460767" y="6574231"/>
                  <a:pt x="4317319" y="6663740"/>
                  <a:pt x="4254862" y="6569625"/>
                </a:cubicBezTo>
                <a:cubicBezTo>
                  <a:pt x="4194868" y="6479207"/>
                  <a:pt x="4203921" y="6380593"/>
                  <a:pt x="4211688" y="6341864"/>
                </a:cubicBezTo>
                <a:close/>
                <a:moveTo>
                  <a:pt x="3257740" y="6341864"/>
                </a:moveTo>
                <a:cubicBezTo>
                  <a:pt x="3358818" y="6367736"/>
                  <a:pt x="3417044" y="6419801"/>
                  <a:pt x="3450094" y="6476582"/>
                </a:cubicBezTo>
                <a:lnTo>
                  <a:pt x="3450040" y="6476582"/>
                </a:lnTo>
                <a:cubicBezTo>
                  <a:pt x="3506820" y="6574231"/>
                  <a:pt x="3363372" y="6663740"/>
                  <a:pt x="3300914" y="6569625"/>
                </a:cubicBezTo>
                <a:cubicBezTo>
                  <a:pt x="3240921" y="6479207"/>
                  <a:pt x="3249972" y="6380593"/>
                  <a:pt x="3257740" y="6341864"/>
                </a:cubicBezTo>
                <a:close/>
                <a:moveTo>
                  <a:pt x="2303739" y="6341864"/>
                </a:moveTo>
                <a:cubicBezTo>
                  <a:pt x="2404817" y="6367736"/>
                  <a:pt x="2463043" y="6419801"/>
                  <a:pt x="2496093" y="6476582"/>
                </a:cubicBezTo>
                <a:lnTo>
                  <a:pt x="2496040" y="6476582"/>
                </a:lnTo>
                <a:cubicBezTo>
                  <a:pt x="2552819" y="6574231"/>
                  <a:pt x="2409370" y="6663740"/>
                  <a:pt x="2346913" y="6569625"/>
                </a:cubicBezTo>
                <a:cubicBezTo>
                  <a:pt x="2286974" y="6479207"/>
                  <a:pt x="2295973" y="6380593"/>
                  <a:pt x="2303739" y="6341864"/>
                </a:cubicBezTo>
                <a:close/>
                <a:moveTo>
                  <a:pt x="1349792" y="6341864"/>
                </a:moveTo>
                <a:cubicBezTo>
                  <a:pt x="1450870" y="6367736"/>
                  <a:pt x="1509096" y="6419801"/>
                  <a:pt x="1542146" y="6476582"/>
                </a:cubicBezTo>
                <a:cubicBezTo>
                  <a:pt x="1598925" y="6574231"/>
                  <a:pt x="1455476" y="6663740"/>
                  <a:pt x="1393019" y="6569625"/>
                </a:cubicBezTo>
                <a:cubicBezTo>
                  <a:pt x="1332973" y="6479207"/>
                  <a:pt x="1342024" y="6380593"/>
                  <a:pt x="1349792" y="6341864"/>
                </a:cubicBezTo>
                <a:close/>
                <a:moveTo>
                  <a:pt x="395737" y="6341864"/>
                </a:moveTo>
                <a:cubicBezTo>
                  <a:pt x="496815" y="6367736"/>
                  <a:pt x="555041" y="6419801"/>
                  <a:pt x="588091" y="6476582"/>
                </a:cubicBezTo>
                <a:lnTo>
                  <a:pt x="588037" y="6476582"/>
                </a:lnTo>
                <a:cubicBezTo>
                  <a:pt x="644817" y="6574231"/>
                  <a:pt x="501368" y="6663740"/>
                  <a:pt x="438911" y="6569625"/>
                </a:cubicBezTo>
                <a:cubicBezTo>
                  <a:pt x="378918" y="6479207"/>
                  <a:pt x="387971" y="6380593"/>
                  <a:pt x="395737" y="6341864"/>
                </a:cubicBezTo>
                <a:close/>
                <a:moveTo>
                  <a:pt x="4959261" y="6125916"/>
                </a:moveTo>
                <a:cubicBezTo>
                  <a:pt x="5023962" y="6131000"/>
                  <a:pt x="5076369" y="6213829"/>
                  <a:pt x="5017955" y="6275175"/>
                </a:cubicBezTo>
                <a:cubicBezTo>
                  <a:pt x="4943124" y="6353756"/>
                  <a:pt x="4844992" y="6366826"/>
                  <a:pt x="4805460" y="6367897"/>
                </a:cubicBezTo>
                <a:cubicBezTo>
                  <a:pt x="4808246" y="6263605"/>
                  <a:pt x="4846064" y="6195256"/>
                  <a:pt x="4894112" y="6150421"/>
                </a:cubicBezTo>
                <a:cubicBezTo>
                  <a:pt x="4914762" y="6131164"/>
                  <a:pt x="4937694" y="6124221"/>
                  <a:pt x="4959261" y="6125916"/>
                </a:cubicBezTo>
                <a:close/>
                <a:moveTo>
                  <a:pt x="4005313" y="6125916"/>
                </a:moveTo>
                <a:cubicBezTo>
                  <a:pt x="4070014" y="6131000"/>
                  <a:pt x="4122421" y="6213829"/>
                  <a:pt x="4064008" y="6275175"/>
                </a:cubicBezTo>
                <a:cubicBezTo>
                  <a:pt x="3989176" y="6353756"/>
                  <a:pt x="3891045" y="6366826"/>
                  <a:pt x="3851513" y="6367897"/>
                </a:cubicBezTo>
                <a:cubicBezTo>
                  <a:pt x="3854299" y="6263605"/>
                  <a:pt x="3892116" y="6195256"/>
                  <a:pt x="3940164" y="6150421"/>
                </a:cubicBezTo>
                <a:cubicBezTo>
                  <a:pt x="3960813" y="6131164"/>
                  <a:pt x="3983746" y="6124221"/>
                  <a:pt x="4005313" y="6125916"/>
                </a:cubicBezTo>
                <a:close/>
                <a:moveTo>
                  <a:pt x="3051312" y="6125916"/>
                </a:moveTo>
                <a:cubicBezTo>
                  <a:pt x="3116013" y="6131000"/>
                  <a:pt x="3168420" y="6213829"/>
                  <a:pt x="3110007" y="6275175"/>
                </a:cubicBezTo>
                <a:cubicBezTo>
                  <a:pt x="3035176" y="6353756"/>
                  <a:pt x="2937044" y="6366826"/>
                  <a:pt x="2897512" y="6367897"/>
                </a:cubicBezTo>
                <a:cubicBezTo>
                  <a:pt x="2900298" y="6263605"/>
                  <a:pt x="2938115" y="6195256"/>
                  <a:pt x="2986163" y="6150421"/>
                </a:cubicBezTo>
                <a:cubicBezTo>
                  <a:pt x="3006813" y="6131164"/>
                  <a:pt x="3029745" y="6124221"/>
                  <a:pt x="3051312" y="6125916"/>
                </a:cubicBezTo>
                <a:close/>
                <a:moveTo>
                  <a:pt x="2097311" y="6125916"/>
                </a:moveTo>
                <a:cubicBezTo>
                  <a:pt x="2162012" y="6131000"/>
                  <a:pt x="2214419" y="6213829"/>
                  <a:pt x="2156006" y="6275175"/>
                </a:cubicBezTo>
                <a:cubicBezTo>
                  <a:pt x="2081174" y="6353756"/>
                  <a:pt x="1983043" y="6366826"/>
                  <a:pt x="1943512" y="6367897"/>
                </a:cubicBezTo>
                <a:cubicBezTo>
                  <a:pt x="1946297" y="6263605"/>
                  <a:pt x="1984114" y="6195256"/>
                  <a:pt x="2032162" y="6150421"/>
                </a:cubicBezTo>
                <a:cubicBezTo>
                  <a:pt x="2052812" y="6131164"/>
                  <a:pt x="2075744" y="6124221"/>
                  <a:pt x="2097311" y="6125916"/>
                </a:cubicBezTo>
                <a:close/>
                <a:moveTo>
                  <a:pt x="1143310" y="6125916"/>
                </a:moveTo>
                <a:cubicBezTo>
                  <a:pt x="1208011" y="6131000"/>
                  <a:pt x="1260418" y="6213829"/>
                  <a:pt x="1202005" y="6275175"/>
                </a:cubicBezTo>
                <a:cubicBezTo>
                  <a:pt x="1127174" y="6353756"/>
                  <a:pt x="1029042" y="6366826"/>
                  <a:pt x="989510" y="6367897"/>
                </a:cubicBezTo>
                <a:cubicBezTo>
                  <a:pt x="992296" y="6263605"/>
                  <a:pt x="1030113" y="6195256"/>
                  <a:pt x="1078161" y="6150421"/>
                </a:cubicBezTo>
                <a:cubicBezTo>
                  <a:pt x="1098811" y="6131164"/>
                  <a:pt x="1121744" y="6124221"/>
                  <a:pt x="1143310" y="6125916"/>
                </a:cubicBezTo>
                <a:close/>
                <a:moveTo>
                  <a:pt x="189309" y="6125916"/>
                </a:moveTo>
                <a:cubicBezTo>
                  <a:pt x="254010" y="6131000"/>
                  <a:pt x="306417" y="6213829"/>
                  <a:pt x="248004" y="6275175"/>
                </a:cubicBezTo>
                <a:cubicBezTo>
                  <a:pt x="173173" y="6353756"/>
                  <a:pt x="75041" y="6366826"/>
                  <a:pt x="35509" y="6367897"/>
                </a:cubicBezTo>
                <a:cubicBezTo>
                  <a:pt x="38295" y="6263605"/>
                  <a:pt x="76112" y="6195256"/>
                  <a:pt x="124160" y="6150421"/>
                </a:cubicBezTo>
                <a:cubicBezTo>
                  <a:pt x="144810" y="6131164"/>
                  <a:pt x="167743" y="6124221"/>
                  <a:pt x="189309" y="6125916"/>
                </a:cubicBezTo>
                <a:close/>
                <a:moveTo>
                  <a:pt x="4380562" y="6125674"/>
                </a:moveTo>
                <a:cubicBezTo>
                  <a:pt x="4402110" y="6124167"/>
                  <a:pt x="4424945" y="6131325"/>
                  <a:pt x="4445394" y="6150796"/>
                </a:cubicBezTo>
                <a:cubicBezTo>
                  <a:pt x="4523974" y="6225627"/>
                  <a:pt x="4537044" y="6323760"/>
                  <a:pt x="4538116" y="6363290"/>
                </a:cubicBezTo>
                <a:cubicBezTo>
                  <a:pt x="4433824" y="6360506"/>
                  <a:pt x="4365474" y="6322689"/>
                  <a:pt x="4320640" y="6274639"/>
                </a:cubicBezTo>
                <a:cubicBezTo>
                  <a:pt x="4262870" y="6212691"/>
                  <a:pt x="4315920" y="6130194"/>
                  <a:pt x="4380562" y="6125674"/>
                </a:cubicBezTo>
                <a:close/>
                <a:moveTo>
                  <a:pt x="3426615" y="6125674"/>
                </a:moveTo>
                <a:cubicBezTo>
                  <a:pt x="3448162" y="6124167"/>
                  <a:pt x="3470998" y="6131325"/>
                  <a:pt x="3491446" y="6150796"/>
                </a:cubicBezTo>
                <a:cubicBezTo>
                  <a:pt x="3570027" y="6225627"/>
                  <a:pt x="3583096" y="6323760"/>
                  <a:pt x="3584168" y="6363290"/>
                </a:cubicBezTo>
                <a:cubicBezTo>
                  <a:pt x="3479876" y="6360506"/>
                  <a:pt x="3411527" y="6322689"/>
                  <a:pt x="3366692" y="6274639"/>
                </a:cubicBezTo>
                <a:cubicBezTo>
                  <a:pt x="3308922" y="6212691"/>
                  <a:pt x="3361972" y="6130194"/>
                  <a:pt x="3426615" y="6125674"/>
                </a:cubicBezTo>
                <a:close/>
                <a:moveTo>
                  <a:pt x="2472614" y="6125674"/>
                </a:moveTo>
                <a:cubicBezTo>
                  <a:pt x="2494161" y="6124167"/>
                  <a:pt x="2516997" y="6131325"/>
                  <a:pt x="2537445" y="6150796"/>
                </a:cubicBezTo>
                <a:cubicBezTo>
                  <a:pt x="2616026" y="6225627"/>
                  <a:pt x="2629096" y="6323760"/>
                  <a:pt x="2630168" y="6363290"/>
                </a:cubicBezTo>
                <a:cubicBezTo>
                  <a:pt x="2525876" y="6360506"/>
                  <a:pt x="2457526" y="6322689"/>
                  <a:pt x="2412692" y="6274639"/>
                </a:cubicBezTo>
                <a:cubicBezTo>
                  <a:pt x="2354921" y="6212691"/>
                  <a:pt x="2407971" y="6130194"/>
                  <a:pt x="2472614" y="6125674"/>
                </a:cubicBezTo>
                <a:close/>
                <a:moveTo>
                  <a:pt x="1518667" y="6125674"/>
                </a:moveTo>
                <a:cubicBezTo>
                  <a:pt x="1540214" y="6124167"/>
                  <a:pt x="1563050" y="6131325"/>
                  <a:pt x="1583498" y="6150796"/>
                </a:cubicBezTo>
                <a:cubicBezTo>
                  <a:pt x="1662078" y="6225627"/>
                  <a:pt x="1675148" y="6323760"/>
                  <a:pt x="1676220" y="6363290"/>
                </a:cubicBezTo>
                <a:cubicBezTo>
                  <a:pt x="1571982" y="6360506"/>
                  <a:pt x="1503632" y="6322689"/>
                  <a:pt x="1458798" y="6274639"/>
                </a:cubicBezTo>
                <a:lnTo>
                  <a:pt x="1458744" y="6274639"/>
                </a:lnTo>
                <a:cubicBezTo>
                  <a:pt x="1400974" y="6212691"/>
                  <a:pt x="1454024" y="6130194"/>
                  <a:pt x="1518667" y="6125674"/>
                </a:cubicBezTo>
                <a:close/>
                <a:moveTo>
                  <a:pt x="564612" y="6125674"/>
                </a:moveTo>
                <a:cubicBezTo>
                  <a:pt x="586159" y="6124167"/>
                  <a:pt x="608995" y="6131325"/>
                  <a:pt x="629443" y="6150796"/>
                </a:cubicBezTo>
                <a:cubicBezTo>
                  <a:pt x="708024" y="6225627"/>
                  <a:pt x="721094" y="6323760"/>
                  <a:pt x="722166" y="6363290"/>
                </a:cubicBezTo>
                <a:cubicBezTo>
                  <a:pt x="617874" y="6360506"/>
                  <a:pt x="549524" y="6322689"/>
                  <a:pt x="504690" y="6274639"/>
                </a:cubicBezTo>
                <a:cubicBezTo>
                  <a:pt x="446920" y="6212691"/>
                  <a:pt x="499969" y="6130194"/>
                  <a:pt x="564612" y="6125674"/>
                </a:cubicBezTo>
                <a:close/>
                <a:moveTo>
                  <a:pt x="4800585" y="6043420"/>
                </a:moveTo>
                <a:cubicBezTo>
                  <a:pt x="4816689" y="6044419"/>
                  <a:pt x="4830114" y="6046438"/>
                  <a:pt x="4839796" y="6048380"/>
                </a:cubicBezTo>
                <a:cubicBezTo>
                  <a:pt x="4813924" y="6149457"/>
                  <a:pt x="4761860" y="6207682"/>
                  <a:pt x="4705079" y="6240733"/>
                </a:cubicBezTo>
                <a:lnTo>
                  <a:pt x="4705079" y="6240679"/>
                </a:lnTo>
                <a:cubicBezTo>
                  <a:pt x="4607430" y="6297458"/>
                  <a:pt x="4517922" y="6154010"/>
                  <a:pt x="4612036" y="6091553"/>
                </a:cubicBezTo>
                <a:cubicBezTo>
                  <a:pt x="4679849" y="6046598"/>
                  <a:pt x="4752273" y="6040421"/>
                  <a:pt x="4800585" y="6043420"/>
                </a:cubicBezTo>
                <a:close/>
                <a:moveTo>
                  <a:pt x="3846638" y="6043420"/>
                </a:moveTo>
                <a:cubicBezTo>
                  <a:pt x="3862742" y="6044419"/>
                  <a:pt x="3876167" y="6046438"/>
                  <a:pt x="3885849" y="6048380"/>
                </a:cubicBezTo>
                <a:cubicBezTo>
                  <a:pt x="3859977" y="6149457"/>
                  <a:pt x="3807912" y="6207682"/>
                  <a:pt x="3751132" y="6240733"/>
                </a:cubicBezTo>
                <a:lnTo>
                  <a:pt x="3751132" y="6240679"/>
                </a:lnTo>
                <a:cubicBezTo>
                  <a:pt x="3653482" y="6297458"/>
                  <a:pt x="3563974" y="6154010"/>
                  <a:pt x="3658089" y="6091553"/>
                </a:cubicBezTo>
                <a:cubicBezTo>
                  <a:pt x="3725902" y="6046598"/>
                  <a:pt x="3798326" y="6040421"/>
                  <a:pt x="3846638" y="6043420"/>
                </a:cubicBezTo>
                <a:close/>
                <a:moveTo>
                  <a:pt x="2892637" y="6043420"/>
                </a:moveTo>
                <a:cubicBezTo>
                  <a:pt x="2908741" y="6044419"/>
                  <a:pt x="2922166" y="6046438"/>
                  <a:pt x="2931848" y="6048380"/>
                </a:cubicBezTo>
                <a:cubicBezTo>
                  <a:pt x="2905976" y="6149457"/>
                  <a:pt x="2853910" y="6207682"/>
                  <a:pt x="2797130" y="6240733"/>
                </a:cubicBezTo>
                <a:lnTo>
                  <a:pt x="2797130" y="6240679"/>
                </a:lnTo>
                <a:cubicBezTo>
                  <a:pt x="2699481" y="6297458"/>
                  <a:pt x="2609974" y="6154010"/>
                  <a:pt x="2704088" y="6091553"/>
                </a:cubicBezTo>
                <a:cubicBezTo>
                  <a:pt x="2771902" y="6046598"/>
                  <a:pt x="2844326" y="6040421"/>
                  <a:pt x="2892637" y="6043420"/>
                </a:cubicBezTo>
                <a:close/>
                <a:moveTo>
                  <a:pt x="1938743" y="6043420"/>
                </a:moveTo>
                <a:cubicBezTo>
                  <a:pt x="1954847" y="6044419"/>
                  <a:pt x="1968272" y="6046438"/>
                  <a:pt x="1977954" y="6048380"/>
                </a:cubicBezTo>
                <a:cubicBezTo>
                  <a:pt x="1952082" y="6149457"/>
                  <a:pt x="1900016" y="6207682"/>
                  <a:pt x="1843237" y="6240733"/>
                </a:cubicBezTo>
                <a:lnTo>
                  <a:pt x="1843237" y="6240679"/>
                </a:lnTo>
                <a:cubicBezTo>
                  <a:pt x="1745587" y="6297458"/>
                  <a:pt x="1656079" y="6154010"/>
                  <a:pt x="1750193" y="6091553"/>
                </a:cubicBezTo>
                <a:cubicBezTo>
                  <a:pt x="1818007" y="6046598"/>
                  <a:pt x="1890431" y="6040421"/>
                  <a:pt x="1938743" y="6043420"/>
                </a:cubicBezTo>
                <a:close/>
                <a:moveTo>
                  <a:pt x="984635" y="6043420"/>
                </a:moveTo>
                <a:cubicBezTo>
                  <a:pt x="1000739" y="6044419"/>
                  <a:pt x="1014164" y="6046438"/>
                  <a:pt x="1023846" y="6048380"/>
                </a:cubicBezTo>
                <a:cubicBezTo>
                  <a:pt x="997974" y="6149457"/>
                  <a:pt x="945908" y="6207682"/>
                  <a:pt x="889129" y="6240733"/>
                </a:cubicBezTo>
                <a:lnTo>
                  <a:pt x="889129" y="6240679"/>
                </a:lnTo>
                <a:cubicBezTo>
                  <a:pt x="791479" y="6297458"/>
                  <a:pt x="701972" y="6154010"/>
                  <a:pt x="796086" y="6091553"/>
                </a:cubicBezTo>
                <a:cubicBezTo>
                  <a:pt x="863899" y="6046598"/>
                  <a:pt x="936323" y="6040421"/>
                  <a:pt x="984635" y="6043420"/>
                </a:cubicBezTo>
                <a:close/>
                <a:moveTo>
                  <a:pt x="30688" y="6043420"/>
                </a:moveTo>
                <a:cubicBezTo>
                  <a:pt x="46792" y="6044419"/>
                  <a:pt x="60217" y="6046438"/>
                  <a:pt x="69899" y="6048380"/>
                </a:cubicBezTo>
                <a:cubicBezTo>
                  <a:pt x="56963" y="6098918"/>
                  <a:pt x="37478" y="6138744"/>
                  <a:pt x="14130" y="6170066"/>
                </a:cubicBezTo>
                <a:lnTo>
                  <a:pt x="0" y="6185436"/>
                </a:lnTo>
                <a:lnTo>
                  <a:pt x="0" y="6044062"/>
                </a:lnTo>
                <a:close/>
                <a:moveTo>
                  <a:pt x="462379" y="5885886"/>
                </a:moveTo>
                <a:cubicBezTo>
                  <a:pt x="543642" y="5876159"/>
                  <a:pt x="601877" y="5992818"/>
                  <a:pt x="519527" y="6047469"/>
                </a:cubicBezTo>
                <a:cubicBezTo>
                  <a:pt x="429108" y="6107462"/>
                  <a:pt x="330495" y="6098463"/>
                  <a:pt x="291767" y="6090696"/>
                </a:cubicBezTo>
                <a:cubicBezTo>
                  <a:pt x="317639" y="5989618"/>
                  <a:pt x="369704" y="5931392"/>
                  <a:pt x="426484" y="5898342"/>
                </a:cubicBezTo>
                <a:cubicBezTo>
                  <a:pt x="438691" y="5891245"/>
                  <a:pt x="450770" y="5887276"/>
                  <a:pt x="462379" y="5885886"/>
                </a:cubicBezTo>
                <a:close/>
                <a:moveTo>
                  <a:pt x="1416379" y="5885833"/>
                </a:moveTo>
                <a:cubicBezTo>
                  <a:pt x="1497642" y="5876106"/>
                  <a:pt x="1555878" y="5992765"/>
                  <a:pt x="1473528" y="6047415"/>
                </a:cubicBezTo>
                <a:cubicBezTo>
                  <a:pt x="1383109" y="6107408"/>
                  <a:pt x="1284496" y="6098409"/>
                  <a:pt x="1245768" y="6090643"/>
                </a:cubicBezTo>
                <a:cubicBezTo>
                  <a:pt x="1271586" y="5989565"/>
                  <a:pt x="1323706" y="5931339"/>
                  <a:pt x="1380485" y="5898289"/>
                </a:cubicBezTo>
                <a:cubicBezTo>
                  <a:pt x="1392691" y="5891191"/>
                  <a:pt x="1404770" y="5887222"/>
                  <a:pt x="1416379" y="5885833"/>
                </a:cubicBezTo>
                <a:close/>
                <a:moveTo>
                  <a:pt x="2370219" y="5885779"/>
                </a:moveTo>
                <a:cubicBezTo>
                  <a:pt x="2451483" y="5876052"/>
                  <a:pt x="2509719" y="5992711"/>
                  <a:pt x="2427368" y="6047361"/>
                </a:cubicBezTo>
                <a:cubicBezTo>
                  <a:pt x="2336950" y="6107355"/>
                  <a:pt x="2238336" y="6098356"/>
                  <a:pt x="2199608" y="6090589"/>
                </a:cubicBezTo>
                <a:cubicBezTo>
                  <a:pt x="2225480" y="5989511"/>
                  <a:pt x="2277546" y="5931285"/>
                  <a:pt x="2334325" y="5898235"/>
                </a:cubicBezTo>
                <a:cubicBezTo>
                  <a:pt x="2346531" y="5891137"/>
                  <a:pt x="2358610" y="5887169"/>
                  <a:pt x="2370219" y="5885779"/>
                </a:cubicBezTo>
                <a:close/>
                <a:moveTo>
                  <a:pt x="3324274" y="5885726"/>
                </a:moveTo>
                <a:cubicBezTo>
                  <a:pt x="3405538" y="5875999"/>
                  <a:pt x="3463773" y="5992657"/>
                  <a:pt x="3381424" y="6047308"/>
                </a:cubicBezTo>
                <a:cubicBezTo>
                  <a:pt x="3291005" y="6107301"/>
                  <a:pt x="3192391" y="6098303"/>
                  <a:pt x="3153662" y="6090535"/>
                </a:cubicBezTo>
                <a:cubicBezTo>
                  <a:pt x="3179535" y="5989457"/>
                  <a:pt x="3231600" y="5931232"/>
                  <a:pt x="3288380" y="5898182"/>
                </a:cubicBezTo>
                <a:cubicBezTo>
                  <a:pt x="3300586" y="5891085"/>
                  <a:pt x="3312665" y="5887116"/>
                  <a:pt x="3324274" y="5885726"/>
                </a:cubicBezTo>
                <a:close/>
                <a:moveTo>
                  <a:pt x="4278222" y="5885673"/>
                </a:moveTo>
                <a:cubicBezTo>
                  <a:pt x="4359485" y="5875945"/>
                  <a:pt x="4417722" y="5992604"/>
                  <a:pt x="4335371" y="6047254"/>
                </a:cubicBezTo>
                <a:cubicBezTo>
                  <a:pt x="4244952" y="6107247"/>
                  <a:pt x="4146338" y="6098249"/>
                  <a:pt x="4107610" y="6090482"/>
                </a:cubicBezTo>
                <a:cubicBezTo>
                  <a:pt x="4133428" y="5989404"/>
                  <a:pt x="4185548" y="5931178"/>
                  <a:pt x="4242328" y="5898129"/>
                </a:cubicBezTo>
                <a:cubicBezTo>
                  <a:pt x="4254534" y="5891031"/>
                  <a:pt x="4266613" y="5887062"/>
                  <a:pt x="4278222" y="5885673"/>
                </a:cubicBezTo>
                <a:close/>
                <a:moveTo>
                  <a:pt x="5232115" y="5885619"/>
                </a:moveTo>
                <a:lnTo>
                  <a:pt x="5242560" y="5886573"/>
                </a:lnTo>
                <a:lnTo>
                  <a:pt x="5242560" y="6069878"/>
                </a:lnTo>
                <a:lnTo>
                  <a:pt x="5220978" y="6080357"/>
                </a:lnTo>
                <a:cubicBezTo>
                  <a:pt x="5153282" y="6102771"/>
                  <a:pt x="5090550" y="6096253"/>
                  <a:pt x="5061504" y="6090428"/>
                </a:cubicBezTo>
                <a:cubicBezTo>
                  <a:pt x="5087376" y="5989350"/>
                  <a:pt x="5139442" y="5931124"/>
                  <a:pt x="5196221" y="5898075"/>
                </a:cubicBezTo>
                <a:cubicBezTo>
                  <a:pt x="5208427" y="5890978"/>
                  <a:pt x="5220506" y="5887009"/>
                  <a:pt x="5232115" y="5885619"/>
                </a:cubicBezTo>
                <a:close/>
                <a:moveTo>
                  <a:pt x="580056" y="5772463"/>
                </a:moveTo>
                <a:cubicBezTo>
                  <a:pt x="684295" y="5775249"/>
                  <a:pt x="752644" y="5813066"/>
                  <a:pt x="797478" y="5861114"/>
                </a:cubicBezTo>
                <a:lnTo>
                  <a:pt x="797532" y="5861114"/>
                </a:lnTo>
                <a:cubicBezTo>
                  <a:pt x="874559" y="5943713"/>
                  <a:pt x="754572" y="6062842"/>
                  <a:pt x="672778" y="5984958"/>
                </a:cubicBezTo>
                <a:cubicBezTo>
                  <a:pt x="594197" y="5910127"/>
                  <a:pt x="581128" y="5811995"/>
                  <a:pt x="580056" y="5772463"/>
                </a:cubicBezTo>
                <a:close/>
                <a:moveTo>
                  <a:pt x="1534056" y="5772410"/>
                </a:moveTo>
                <a:cubicBezTo>
                  <a:pt x="1638348" y="5775195"/>
                  <a:pt x="1706698" y="5813012"/>
                  <a:pt x="1751532" y="5861061"/>
                </a:cubicBezTo>
                <a:cubicBezTo>
                  <a:pt x="1828560" y="5943659"/>
                  <a:pt x="1708573" y="6062789"/>
                  <a:pt x="1626779" y="5984904"/>
                </a:cubicBezTo>
                <a:cubicBezTo>
                  <a:pt x="1548198" y="5910074"/>
                  <a:pt x="1535075" y="5811941"/>
                  <a:pt x="1534056" y="5772410"/>
                </a:cubicBezTo>
                <a:close/>
                <a:moveTo>
                  <a:pt x="2487951" y="5772356"/>
                </a:moveTo>
                <a:cubicBezTo>
                  <a:pt x="2592190" y="5775142"/>
                  <a:pt x="2660539" y="5812959"/>
                  <a:pt x="2705374" y="5861007"/>
                </a:cubicBezTo>
                <a:lnTo>
                  <a:pt x="2705426" y="5861007"/>
                </a:lnTo>
                <a:cubicBezTo>
                  <a:pt x="2782454" y="5943606"/>
                  <a:pt x="2662467" y="6062735"/>
                  <a:pt x="2580673" y="5984850"/>
                </a:cubicBezTo>
                <a:cubicBezTo>
                  <a:pt x="2502092" y="5910020"/>
                  <a:pt x="2488968" y="5811888"/>
                  <a:pt x="2487951" y="5772356"/>
                </a:cubicBezTo>
                <a:close/>
                <a:moveTo>
                  <a:pt x="3441898" y="5772303"/>
                </a:moveTo>
                <a:cubicBezTo>
                  <a:pt x="3546190" y="5775088"/>
                  <a:pt x="3614540" y="5812905"/>
                  <a:pt x="3659374" y="5860953"/>
                </a:cubicBezTo>
                <a:cubicBezTo>
                  <a:pt x="3736402" y="5943552"/>
                  <a:pt x="3616415" y="6062681"/>
                  <a:pt x="3534620" y="5984797"/>
                </a:cubicBezTo>
                <a:cubicBezTo>
                  <a:pt x="3456040" y="5909966"/>
                  <a:pt x="3442916" y="5811834"/>
                  <a:pt x="3441898" y="5772303"/>
                </a:cubicBezTo>
                <a:close/>
                <a:moveTo>
                  <a:pt x="4395846" y="5772250"/>
                </a:moveTo>
                <a:cubicBezTo>
                  <a:pt x="4500138" y="5775034"/>
                  <a:pt x="4568487" y="5812851"/>
                  <a:pt x="4613321" y="5860900"/>
                </a:cubicBezTo>
                <a:cubicBezTo>
                  <a:pt x="4690348" y="5943498"/>
                  <a:pt x="4570362" y="6062628"/>
                  <a:pt x="4488568" y="5984743"/>
                </a:cubicBezTo>
                <a:cubicBezTo>
                  <a:pt x="4409986" y="5909913"/>
                  <a:pt x="4396917" y="5811780"/>
                  <a:pt x="4395846" y="5772250"/>
                </a:cubicBezTo>
                <a:close/>
                <a:moveTo>
                  <a:pt x="312765" y="5767911"/>
                </a:moveTo>
                <a:cubicBezTo>
                  <a:pt x="309979" y="5872148"/>
                  <a:pt x="272162" y="5940498"/>
                  <a:pt x="224114" y="5985332"/>
                </a:cubicBezTo>
                <a:lnTo>
                  <a:pt x="224114" y="5985386"/>
                </a:lnTo>
                <a:cubicBezTo>
                  <a:pt x="141516" y="6062413"/>
                  <a:pt x="22386" y="5942426"/>
                  <a:pt x="100270" y="5860632"/>
                </a:cubicBezTo>
                <a:cubicBezTo>
                  <a:pt x="175101" y="5782052"/>
                  <a:pt x="273233" y="5768928"/>
                  <a:pt x="312765" y="5767911"/>
                </a:cubicBezTo>
                <a:close/>
                <a:moveTo>
                  <a:pt x="1266712" y="5767857"/>
                </a:moveTo>
                <a:cubicBezTo>
                  <a:pt x="1263926" y="5872095"/>
                  <a:pt x="1226109" y="5940444"/>
                  <a:pt x="1178061" y="5985279"/>
                </a:cubicBezTo>
                <a:lnTo>
                  <a:pt x="1178061" y="5985332"/>
                </a:lnTo>
                <a:cubicBezTo>
                  <a:pt x="1095463" y="6062359"/>
                  <a:pt x="976333" y="5942374"/>
                  <a:pt x="1054218" y="5860579"/>
                </a:cubicBezTo>
                <a:cubicBezTo>
                  <a:pt x="1129049" y="5781998"/>
                  <a:pt x="1227180" y="5768875"/>
                  <a:pt x="1266712" y="5767857"/>
                </a:cubicBezTo>
                <a:close/>
                <a:moveTo>
                  <a:pt x="2220606" y="5767804"/>
                </a:moveTo>
                <a:cubicBezTo>
                  <a:pt x="2217820" y="5872042"/>
                  <a:pt x="2180003" y="5940391"/>
                  <a:pt x="2131954" y="5985226"/>
                </a:cubicBezTo>
                <a:lnTo>
                  <a:pt x="2131954" y="5985279"/>
                </a:lnTo>
                <a:cubicBezTo>
                  <a:pt x="2049357" y="6062306"/>
                  <a:pt x="1930227" y="5942320"/>
                  <a:pt x="2008111" y="5860525"/>
                </a:cubicBezTo>
                <a:cubicBezTo>
                  <a:pt x="2082943" y="5781944"/>
                  <a:pt x="2181074" y="5768821"/>
                  <a:pt x="2220606" y="5767804"/>
                </a:cubicBezTo>
                <a:close/>
                <a:moveTo>
                  <a:pt x="3174553" y="5767750"/>
                </a:moveTo>
                <a:cubicBezTo>
                  <a:pt x="3171768" y="5871988"/>
                  <a:pt x="3133950" y="5940338"/>
                  <a:pt x="3085902" y="5985172"/>
                </a:cubicBezTo>
                <a:lnTo>
                  <a:pt x="3085902" y="5985226"/>
                </a:lnTo>
                <a:cubicBezTo>
                  <a:pt x="3003304" y="6062252"/>
                  <a:pt x="2884175" y="5942266"/>
                  <a:pt x="2962058" y="5860472"/>
                </a:cubicBezTo>
                <a:cubicBezTo>
                  <a:pt x="3036890" y="5781891"/>
                  <a:pt x="3135022" y="5768767"/>
                  <a:pt x="3174553" y="5767750"/>
                </a:cubicBezTo>
                <a:close/>
                <a:moveTo>
                  <a:pt x="4128500" y="5767696"/>
                </a:moveTo>
                <a:cubicBezTo>
                  <a:pt x="4125715" y="5871935"/>
                  <a:pt x="4087898" y="5940284"/>
                  <a:pt x="4039850" y="5985119"/>
                </a:cubicBezTo>
                <a:lnTo>
                  <a:pt x="4039850" y="5985172"/>
                </a:lnTo>
                <a:cubicBezTo>
                  <a:pt x="3957252" y="6062199"/>
                  <a:pt x="3838122" y="5942213"/>
                  <a:pt x="3916006" y="5860418"/>
                </a:cubicBezTo>
                <a:cubicBezTo>
                  <a:pt x="3990838" y="5781837"/>
                  <a:pt x="4088970" y="5768714"/>
                  <a:pt x="4128500" y="5767696"/>
                </a:cubicBezTo>
                <a:close/>
                <a:moveTo>
                  <a:pt x="5082502" y="5767643"/>
                </a:moveTo>
                <a:cubicBezTo>
                  <a:pt x="5079716" y="5871881"/>
                  <a:pt x="5041899" y="5940231"/>
                  <a:pt x="4993850" y="5985065"/>
                </a:cubicBezTo>
                <a:lnTo>
                  <a:pt x="4993850" y="5985119"/>
                </a:lnTo>
                <a:cubicBezTo>
                  <a:pt x="4911253" y="6062146"/>
                  <a:pt x="4792122" y="5942159"/>
                  <a:pt x="4870007" y="5860364"/>
                </a:cubicBezTo>
                <a:cubicBezTo>
                  <a:pt x="4944838" y="5781783"/>
                  <a:pt x="5042971" y="5768660"/>
                  <a:pt x="5082502" y="5767643"/>
                </a:cubicBezTo>
                <a:close/>
                <a:moveTo>
                  <a:pt x="792391" y="5525784"/>
                </a:moveTo>
                <a:cubicBezTo>
                  <a:pt x="813735" y="5529102"/>
                  <a:pt x="834412" y="5541154"/>
                  <a:pt x="850026" y="5564683"/>
                </a:cubicBezTo>
                <a:cubicBezTo>
                  <a:pt x="910073" y="5655101"/>
                  <a:pt x="901020" y="5753716"/>
                  <a:pt x="893254" y="5792443"/>
                </a:cubicBezTo>
                <a:cubicBezTo>
                  <a:pt x="792176" y="5766572"/>
                  <a:pt x="733950" y="5714506"/>
                  <a:pt x="700900" y="5657726"/>
                </a:cubicBezTo>
                <a:cubicBezTo>
                  <a:pt x="658315" y="5584488"/>
                  <a:pt x="728359" y="5515831"/>
                  <a:pt x="792391" y="5525784"/>
                </a:cubicBezTo>
                <a:close/>
                <a:moveTo>
                  <a:pt x="1746392" y="5525731"/>
                </a:moveTo>
                <a:cubicBezTo>
                  <a:pt x="1767737" y="5529049"/>
                  <a:pt x="1788413" y="5541101"/>
                  <a:pt x="1804027" y="5564630"/>
                </a:cubicBezTo>
                <a:cubicBezTo>
                  <a:pt x="1864020" y="5655048"/>
                  <a:pt x="1854968" y="5753662"/>
                  <a:pt x="1847201" y="5792390"/>
                </a:cubicBezTo>
                <a:cubicBezTo>
                  <a:pt x="1746123" y="5766518"/>
                  <a:pt x="1687897" y="5714452"/>
                  <a:pt x="1654847" y="5657673"/>
                </a:cubicBezTo>
                <a:lnTo>
                  <a:pt x="1654900" y="5657673"/>
                </a:lnTo>
                <a:cubicBezTo>
                  <a:pt x="1612316" y="5584436"/>
                  <a:pt x="1682360" y="5515778"/>
                  <a:pt x="1746392" y="5525731"/>
                </a:cubicBezTo>
                <a:close/>
                <a:moveTo>
                  <a:pt x="2700232" y="5525678"/>
                </a:moveTo>
                <a:cubicBezTo>
                  <a:pt x="2721577" y="5528995"/>
                  <a:pt x="2742253" y="5541048"/>
                  <a:pt x="2757867" y="5564577"/>
                </a:cubicBezTo>
                <a:cubicBezTo>
                  <a:pt x="2817860" y="5654994"/>
                  <a:pt x="2808808" y="5753608"/>
                  <a:pt x="2801041" y="5792336"/>
                </a:cubicBezTo>
                <a:cubicBezTo>
                  <a:pt x="2699963" y="5766464"/>
                  <a:pt x="2641737" y="5714398"/>
                  <a:pt x="2608688" y="5657619"/>
                </a:cubicBezTo>
                <a:lnTo>
                  <a:pt x="2608742" y="5657619"/>
                </a:lnTo>
                <a:cubicBezTo>
                  <a:pt x="2566156" y="5584382"/>
                  <a:pt x="2636200" y="5515724"/>
                  <a:pt x="2700232" y="5525678"/>
                </a:cubicBezTo>
                <a:close/>
                <a:moveTo>
                  <a:pt x="3654287" y="5525624"/>
                </a:moveTo>
                <a:cubicBezTo>
                  <a:pt x="3675631" y="5528942"/>
                  <a:pt x="3696307" y="5540994"/>
                  <a:pt x="3711922" y="5564523"/>
                </a:cubicBezTo>
                <a:cubicBezTo>
                  <a:pt x="3771915" y="5654940"/>
                  <a:pt x="3762863" y="5753556"/>
                  <a:pt x="3755096" y="5792283"/>
                </a:cubicBezTo>
                <a:cubicBezTo>
                  <a:pt x="3654018" y="5766411"/>
                  <a:pt x="3595792" y="5714345"/>
                  <a:pt x="3562742" y="5657565"/>
                </a:cubicBezTo>
                <a:lnTo>
                  <a:pt x="3562796" y="5657565"/>
                </a:lnTo>
                <a:cubicBezTo>
                  <a:pt x="3520211" y="5584328"/>
                  <a:pt x="3590254" y="5515670"/>
                  <a:pt x="3654287" y="5525624"/>
                </a:cubicBezTo>
                <a:close/>
                <a:moveTo>
                  <a:pt x="4608234" y="5525570"/>
                </a:moveTo>
                <a:cubicBezTo>
                  <a:pt x="4629579" y="5528888"/>
                  <a:pt x="4650255" y="5540940"/>
                  <a:pt x="4665869" y="5564469"/>
                </a:cubicBezTo>
                <a:cubicBezTo>
                  <a:pt x="4725916" y="5654888"/>
                  <a:pt x="4716864" y="5753502"/>
                  <a:pt x="4709096" y="5792229"/>
                </a:cubicBezTo>
                <a:cubicBezTo>
                  <a:pt x="4608018" y="5766357"/>
                  <a:pt x="4549793" y="5714291"/>
                  <a:pt x="4516744" y="5657512"/>
                </a:cubicBezTo>
                <a:cubicBezTo>
                  <a:pt x="4474159" y="5584275"/>
                  <a:pt x="4544202" y="5515617"/>
                  <a:pt x="4608234" y="5525570"/>
                </a:cubicBezTo>
                <a:close/>
                <a:moveTo>
                  <a:pt x="0" y="5472783"/>
                </a:moveTo>
                <a:lnTo>
                  <a:pt x="58725" y="5493477"/>
                </a:lnTo>
                <a:cubicBezTo>
                  <a:pt x="119292" y="5521696"/>
                  <a:pt x="158241" y="5561629"/>
                  <a:pt x="183029" y="5604215"/>
                </a:cubicBezTo>
                <a:lnTo>
                  <a:pt x="182975" y="5604215"/>
                </a:lnTo>
                <a:cubicBezTo>
                  <a:pt x="239754" y="5701864"/>
                  <a:pt x="96306" y="5791372"/>
                  <a:pt x="33849" y="5697258"/>
                </a:cubicBezTo>
                <a:cubicBezTo>
                  <a:pt x="18851" y="5674654"/>
                  <a:pt x="8168" y="5651537"/>
                  <a:pt x="701" y="5628971"/>
                </a:cubicBezTo>
                <a:lnTo>
                  <a:pt x="0" y="5625682"/>
                </a:lnTo>
                <a:close/>
                <a:moveTo>
                  <a:pt x="944676" y="5469444"/>
                </a:moveTo>
                <a:cubicBezTo>
                  <a:pt x="1045754" y="5495316"/>
                  <a:pt x="1103980" y="5547381"/>
                  <a:pt x="1137030" y="5604161"/>
                </a:cubicBezTo>
                <a:cubicBezTo>
                  <a:pt x="1193809" y="5701810"/>
                  <a:pt x="1050361" y="5791318"/>
                  <a:pt x="987904" y="5697205"/>
                </a:cubicBezTo>
                <a:cubicBezTo>
                  <a:pt x="927910" y="5606786"/>
                  <a:pt x="936910" y="5508172"/>
                  <a:pt x="944676" y="5469444"/>
                </a:cubicBezTo>
                <a:close/>
                <a:moveTo>
                  <a:pt x="1898517" y="5469390"/>
                </a:moveTo>
                <a:cubicBezTo>
                  <a:pt x="1999595" y="5495262"/>
                  <a:pt x="2057820" y="5547328"/>
                  <a:pt x="2090870" y="5604107"/>
                </a:cubicBezTo>
                <a:cubicBezTo>
                  <a:pt x="2147649" y="5701757"/>
                  <a:pt x="2004201" y="5791264"/>
                  <a:pt x="1941744" y="5697151"/>
                </a:cubicBezTo>
                <a:cubicBezTo>
                  <a:pt x="1881750" y="5606732"/>
                  <a:pt x="1890750" y="5508118"/>
                  <a:pt x="1898517" y="5469390"/>
                </a:cubicBezTo>
                <a:close/>
                <a:moveTo>
                  <a:pt x="2852570" y="5469336"/>
                </a:moveTo>
                <a:cubicBezTo>
                  <a:pt x="2953648" y="5495208"/>
                  <a:pt x="3011874" y="5547274"/>
                  <a:pt x="3044924" y="5604054"/>
                </a:cubicBezTo>
                <a:lnTo>
                  <a:pt x="3044871" y="5604054"/>
                </a:lnTo>
                <a:cubicBezTo>
                  <a:pt x="3101650" y="5701703"/>
                  <a:pt x="2958202" y="5791212"/>
                  <a:pt x="2895744" y="5697097"/>
                </a:cubicBezTo>
                <a:cubicBezTo>
                  <a:pt x="2835751" y="5606679"/>
                  <a:pt x="2844804" y="5508065"/>
                  <a:pt x="2852570" y="5469336"/>
                </a:cubicBezTo>
                <a:close/>
                <a:moveTo>
                  <a:pt x="3806519" y="5469283"/>
                </a:moveTo>
                <a:cubicBezTo>
                  <a:pt x="3907597" y="5495155"/>
                  <a:pt x="3965823" y="5547221"/>
                  <a:pt x="3998872" y="5604000"/>
                </a:cubicBezTo>
                <a:lnTo>
                  <a:pt x="3998818" y="5604000"/>
                </a:lnTo>
                <a:cubicBezTo>
                  <a:pt x="4055598" y="5701650"/>
                  <a:pt x="3912149" y="5791158"/>
                  <a:pt x="3849692" y="5697044"/>
                </a:cubicBezTo>
                <a:cubicBezTo>
                  <a:pt x="3789752" y="5606625"/>
                  <a:pt x="3798752" y="5508011"/>
                  <a:pt x="3806519" y="5469283"/>
                </a:cubicBezTo>
                <a:close/>
                <a:moveTo>
                  <a:pt x="4760412" y="5469229"/>
                </a:moveTo>
                <a:cubicBezTo>
                  <a:pt x="4861490" y="5495102"/>
                  <a:pt x="4919716" y="5547167"/>
                  <a:pt x="4952766" y="5603946"/>
                </a:cubicBezTo>
                <a:lnTo>
                  <a:pt x="4952713" y="5603946"/>
                </a:lnTo>
                <a:cubicBezTo>
                  <a:pt x="5009492" y="5701596"/>
                  <a:pt x="4866044" y="5791104"/>
                  <a:pt x="4803586" y="5696990"/>
                </a:cubicBezTo>
                <a:cubicBezTo>
                  <a:pt x="4743592" y="5606571"/>
                  <a:pt x="4752646" y="5507957"/>
                  <a:pt x="4760412" y="5469229"/>
                </a:cubicBezTo>
                <a:close/>
                <a:moveTo>
                  <a:pt x="738355" y="5253656"/>
                </a:moveTo>
                <a:cubicBezTo>
                  <a:pt x="803056" y="5258741"/>
                  <a:pt x="855463" y="5341570"/>
                  <a:pt x="797050" y="5402915"/>
                </a:cubicBezTo>
                <a:cubicBezTo>
                  <a:pt x="722218" y="5481496"/>
                  <a:pt x="624087" y="5494566"/>
                  <a:pt x="584555" y="5495638"/>
                </a:cubicBezTo>
                <a:cubicBezTo>
                  <a:pt x="587341" y="5391345"/>
                  <a:pt x="625158" y="5322996"/>
                  <a:pt x="673206" y="5278162"/>
                </a:cubicBezTo>
                <a:cubicBezTo>
                  <a:pt x="693856" y="5258905"/>
                  <a:pt x="716789" y="5251962"/>
                  <a:pt x="738355" y="5253656"/>
                </a:cubicBezTo>
                <a:close/>
                <a:moveTo>
                  <a:pt x="1692250" y="5253602"/>
                </a:moveTo>
                <a:cubicBezTo>
                  <a:pt x="1756950" y="5258687"/>
                  <a:pt x="1809357" y="5341516"/>
                  <a:pt x="1750943" y="5402861"/>
                </a:cubicBezTo>
                <a:cubicBezTo>
                  <a:pt x="1676113" y="5481442"/>
                  <a:pt x="1577981" y="5494512"/>
                  <a:pt x="1538450" y="5495584"/>
                </a:cubicBezTo>
                <a:cubicBezTo>
                  <a:pt x="1541234" y="5391292"/>
                  <a:pt x="1579052" y="5322942"/>
                  <a:pt x="1627100" y="5278108"/>
                </a:cubicBezTo>
                <a:cubicBezTo>
                  <a:pt x="1647750" y="5258851"/>
                  <a:pt x="1670683" y="5251908"/>
                  <a:pt x="1692250" y="5253602"/>
                </a:cubicBezTo>
                <a:close/>
                <a:moveTo>
                  <a:pt x="2646197" y="5253549"/>
                </a:moveTo>
                <a:cubicBezTo>
                  <a:pt x="2710897" y="5258633"/>
                  <a:pt x="2763304" y="5341462"/>
                  <a:pt x="2704891" y="5402808"/>
                </a:cubicBezTo>
                <a:cubicBezTo>
                  <a:pt x="2630060" y="5481389"/>
                  <a:pt x="2531928" y="5494458"/>
                  <a:pt x="2492397" y="5495530"/>
                </a:cubicBezTo>
                <a:cubicBezTo>
                  <a:pt x="2495182" y="5391238"/>
                  <a:pt x="2532999" y="5322889"/>
                  <a:pt x="2581047" y="5278054"/>
                </a:cubicBezTo>
                <a:cubicBezTo>
                  <a:pt x="2601697" y="5258798"/>
                  <a:pt x="2624630" y="5251854"/>
                  <a:pt x="2646197" y="5253549"/>
                </a:cubicBezTo>
                <a:close/>
                <a:moveTo>
                  <a:pt x="3600037" y="5253495"/>
                </a:moveTo>
                <a:cubicBezTo>
                  <a:pt x="3664738" y="5258580"/>
                  <a:pt x="3717145" y="5341409"/>
                  <a:pt x="3658732" y="5402754"/>
                </a:cubicBezTo>
                <a:cubicBezTo>
                  <a:pt x="3583900" y="5481335"/>
                  <a:pt x="3485768" y="5494406"/>
                  <a:pt x="3446238" y="5495477"/>
                </a:cubicBezTo>
                <a:cubicBezTo>
                  <a:pt x="3449023" y="5391185"/>
                  <a:pt x="3486840" y="5322835"/>
                  <a:pt x="3534888" y="5278001"/>
                </a:cubicBezTo>
                <a:cubicBezTo>
                  <a:pt x="3555537" y="5258744"/>
                  <a:pt x="3578470" y="5251801"/>
                  <a:pt x="3600037" y="5253495"/>
                </a:cubicBezTo>
                <a:close/>
                <a:moveTo>
                  <a:pt x="4554092" y="5253442"/>
                </a:moveTo>
                <a:cubicBezTo>
                  <a:pt x="4618792" y="5258526"/>
                  <a:pt x="4671199" y="5341355"/>
                  <a:pt x="4612786" y="5402701"/>
                </a:cubicBezTo>
                <a:cubicBezTo>
                  <a:pt x="4537955" y="5481281"/>
                  <a:pt x="4439823" y="5494352"/>
                  <a:pt x="4400292" y="5495423"/>
                </a:cubicBezTo>
                <a:cubicBezTo>
                  <a:pt x="4403077" y="5391131"/>
                  <a:pt x="4440895" y="5322781"/>
                  <a:pt x="4488942" y="5277947"/>
                </a:cubicBezTo>
                <a:cubicBezTo>
                  <a:pt x="4509592" y="5258690"/>
                  <a:pt x="4532525" y="5251747"/>
                  <a:pt x="4554092" y="5253442"/>
                </a:cubicBezTo>
                <a:close/>
                <a:moveTo>
                  <a:pt x="159657" y="5253414"/>
                </a:moveTo>
                <a:cubicBezTo>
                  <a:pt x="181204" y="5251908"/>
                  <a:pt x="204040" y="5259065"/>
                  <a:pt x="224488" y="5278536"/>
                </a:cubicBezTo>
                <a:cubicBezTo>
                  <a:pt x="303069" y="5353368"/>
                  <a:pt x="316139" y="5451500"/>
                  <a:pt x="317211" y="5491031"/>
                </a:cubicBezTo>
                <a:cubicBezTo>
                  <a:pt x="212919" y="5488245"/>
                  <a:pt x="144569" y="5450428"/>
                  <a:pt x="99735" y="5402380"/>
                </a:cubicBezTo>
                <a:cubicBezTo>
                  <a:pt x="41965" y="5340431"/>
                  <a:pt x="95014" y="5257934"/>
                  <a:pt x="159657" y="5253414"/>
                </a:cubicBezTo>
                <a:close/>
                <a:moveTo>
                  <a:pt x="1113604" y="5253361"/>
                </a:moveTo>
                <a:cubicBezTo>
                  <a:pt x="1135152" y="5251854"/>
                  <a:pt x="1157987" y="5259012"/>
                  <a:pt x="1178436" y="5278482"/>
                </a:cubicBezTo>
                <a:cubicBezTo>
                  <a:pt x="1257016" y="5353314"/>
                  <a:pt x="1270086" y="5451446"/>
                  <a:pt x="1271158" y="5490977"/>
                </a:cubicBezTo>
                <a:cubicBezTo>
                  <a:pt x="1166866" y="5488191"/>
                  <a:pt x="1098516" y="5450374"/>
                  <a:pt x="1053682" y="5402326"/>
                </a:cubicBezTo>
                <a:cubicBezTo>
                  <a:pt x="995912" y="5340378"/>
                  <a:pt x="1048962" y="5257881"/>
                  <a:pt x="1113604" y="5253361"/>
                </a:cubicBezTo>
                <a:close/>
                <a:moveTo>
                  <a:pt x="2067498" y="5253307"/>
                </a:moveTo>
                <a:cubicBezTo>
                  <a:pt x="2089046" y="5251800"/>
                  <a:pt x="2111881" y="5258958"/>
                  <a:pt x="2132330" y="5278429"/>
                </a:cubicBezTo>
                <a:cubicBezTo>
                  <a:pt x="2210910" y="5353260"/>
                  <a:pt x="2223981" y="5451393"/>
                  <a:pt x="2225052" y="5490923"/>
                </a:cubicBezTo>
                <a:cubicBezTo>
                  <a:pt x="2120760" y="5488138"/>
                  <a:pt x="2052410" y="5450321"/>
                  <a:pt x="2007576" y="5402272"/>
                </a:cubicBezTo>
                <a:cubicBezTo>
                  <a:pt x="1949806" y="5340324"/>
                  <a:pt x="2002855" y="5257827"/>
                  <a:pt x="2067498" y="5253307"/>
                </a:cubicBezTo>
                <a:close/>
                <a:moveTo>
                  <a:pt x="3021392" y="5253253"/>
                </a:moveTo>
                <a:cubicBezTo>
                  <a:pt x="3042939" y="5251747"/>
                  <a:pt x="3065775" y="5258904"/>
                  <a:pt x="3086224" y="5278375"/>
                </a:cubicBezTo>
                <a:cubicBezTo>
                  <a:pt x="3164804" y="5353207"/>
                  <a:pt x="3177874" y="5451339"/>
                  <a:pt x="3178946" y="5490870"/>
                </a:cubicBezTo>
                <a:cubicBezTo>
                  <a:pt x="3074707" y="5488084"/>
                  <a:pt x="3006358" y="5450267"/>
                  <a:pt x="2961523" y="5402219"/>
                </a:cubicBezTo>
                <a:lnTo>
                  <a:pt x="2961470" y="5402219"/>
                </a:lnTo>
                <a:cubicBezTo>
                  <a:pt x="2903699" y="5340270"/>
                  <a:pt x="2956749" y="5257773"/>
                  <a:pt x="3021392" y="5253253"/>
                </a:cubicBezTo>
                <a:close/>
                <a:moveTo>
                  <a:pt x="3975393" y="5253200"/>
                </a:moveTo>
                <a:cubicBezTo>
                  <a:pt x="3996941" y="5251694"/>
                  <a:pt x="4019776" y="5258852"/>
                  <a:pt x="4040225" y="5278323"/>
                </a:cubicBezTo>
                <a:cubicBezTo>
                  <a:pt x="4118805" y="5353153"/>
                  <a:pt x="4131876" y="5451285"/>
                  <a:pt x="4132946" y="5490816"/>
                </a:cubicBezTo>
                <a:cubicBezTo>
                  <a:pt x="4028654" y="5488031"/>
                  <a:pt x="3960305" y="5450214"/>
                  <a:pt x="3915470" y="5402165"/>
                </a:cubicBezTo>
                <a:cubicBezTo>
                  <a:pt x="3857700" y="5340217"/>
                  <a:pt x="3910750" y="5257720"/>
                  <a:pt x="3975393" y="5253200"/>
                </a:cubicBezTo>
                <a:close/>
                <a:moveTo>
                  <a:pt x="4929394" y="5253146"/>
                </a:moveTo>
                <a:cubicBezTo>
                  <a:pt x="4950941" y="5251640"/>
                  <a:pt x="4973777" y="5258798"/>
                  <a:pt x="4994226" y="5278269"/>
                </a:cubicBezTo>
                <a:cubicBezTo>
                  <a:pt x="5072806" y="5353099"/>
                  <a:pt x="5085876" y="5451232"/>
                  <a:pt x="5086948" y="5490762"/>
                </a:cubicBezTo>
                <a:cubicBezTo>
                  <a:pt x="4982656" y="5487978"/>
                  <a:pt x="4914306" y="5450161"/>
                  <a:pt x="4869472" y="5402111"/>
                </a:cubicBezTo>
                <a:cubicBezTo>
                  <a:pt x="4811701" y="5340163"/>
                  <a:pt x="4864751" y="5257666"/>
                  <a:pt x="4929394" y="5253146"/>
                </a:cubicBezTo>
                <a:close/>
                <a:moveTo>
                  <a:pt x="5242560" y="5182985"/>
                </a:moveTo>
                <a:lnTo>
                  <a:pt x="5242560" y="5372090"/>
                </a:lnTo>
                <a:lnTo>
                  <a:pt x="5218017" y="5380607"/>
                </a:lnTo>
                <a:cubicBezTo>
                  <a:pt x="5136753" y="5390334"/>
                  <a:pt x="5078518" y="5273675"/>
                  <a:pt x="5160868" y="5219025"/>
                </a:cubicBezTo>
                <a:cubicBezTo>
                  <a:pt x="5183472" y="5204013"/>
                  <a:pt x="5206589" y="5193320"/>
                  <a:pt x="5229154" y="5185846"/>
                </a:cubicBezTo>
                <a:close/>
                <a:moveTo>
                  <a:pt x="579658" y="5171099"/>
                </a:moveTo>
                <a:cubicBezTo>
                  <a:pt x="595764" y="5172102"/>
                  <a:pt x="609196" y="5174124"/>
                  <a:pt x="618891" y="5176065"/>
                </a:cubicBezTo>
                <a:cubicBezTo>
                  <a:pt x="593073" y="5277143"/>
                  <a:pt x="540953" y="5335369"/>
                  <a:pt x="484174" y="5368419"/>
                </a:cubicBezTo>
                <a:cubicBezTo>
                  <a:pt x="386524" y="5425199"/>
                  <a:pt x="297017" y="5281750"/>
                  <a:pt x="391131" y="5219293"/>
                </a:cubicBezTo>
                <a:cubicBezTo>
                  <a:pt x="458945" y="5174258"/>
                  <a:pt x="531338" y="5168091"/>
                  <a:pt x="579658" y="5171099"/>
                </a:cubicBezTo>
                <a:close/>
                <a:moveTo>
                  <a:pt x="1533627" y="5171045"/>
                </a:moveTo>
                <a:cubicBezTo>
                  <a:pt x="1549731" y="5172048"/>
                  <a:pt x="1563156" y="5174070"/>
                  <a:pt x="1572838" y="5176012"/>
                </a:cubicBezTo>
                <a:cubicBezTo>
                  <a:pt x="1546966" y="5277090"/>
                  <a:pt x="1494900" y="5335315"/>
                  <a:pt x="1438121" y="5368366"/>
                </a:cubicBezTo>
                <a:cubicBezTo>
                  <a:pt x="1340472" y="5425145"/>
                  <a:pt x="1250964" y="5281697"/>
                  <a:pt x="1345078" y="5219239"/>
                </a:cubicBezTo>
                <a:cubicBezTo>
                  <a:pt x="1412892" y="5174204"/>
                  <a:pt x="1485316" y="5168038"/>
                  <a:pt x="1533627" y="5171045"/>
                </a:cubicBezTo>
                <a:close/>
                <a:moveTo>
                  <a:pt x="2487521" y="5170992"/>
                </a:moveTo>
                <a:cubicBezTo>
                  <a:pt x="2503625" y="5171994"/>
                  <a:pt x="2517050" y="5174016"/>
                  <a:pt x="2526732" y="5175958"/>
                </a:cubicBezTo>
                <a:cubicBezTo>
                  <a:pt x="2500860" y="5277036"/>
                  <a:pt x="2448795" y="5335262"/>
                  <a:pt x="2392016" y="5368312"/>
                </a:cubicBezTo>
                <a:cubicBezTo>
                  <a:pt x="2294365" y="5425091"/>
                  <a:pt x="2204858" y="5281643"/>
                  <a:pt x="2298972" y="5219186"/>
                </a:cubicBezTo>
                <a:cubicBezTo>
                  <a:pt x="2366786" y="5174150"/>
                  <a:pt x="2439210" y="5167984"/>
                  <a:pt x="2487521" y="5170992"/>
                </a:cubicBezTo>
                <a:close/>
                <a:moveTo>
                  <a:pt x="3441469" y="5170938"/>
                </a:moveTo>
                <a:cubicBezTo>
                  <a:pt x="3457573" y="5171941"/>
                  <a:pt x="3470998" y="5173963"/>
                  <a:pt x="3480680" y="5175904"/>
                </a:cubicBezTo>
                <a:cubicBezTo>
                  <a:pt x="3454808" y="5276983"/>
                  <a:pt x="3402742" y="5335209"/>
                  <a:pt x="3345962" y="5368258"/>
                </a:cubicBezTo>
                <a:cubicBezTo>
                  <a:pt x="3248312" y="5425038"/>
                  <a:pt x="3158805" y="5281589"/>
                  <a:pt x="3252920" y="5219132"/>
                </a:cubicBezTo>
                <a:cubicBezTo>
                  <a:pt x="3320733" y="5174097"/>
                  <a:pt x="3393157" y="5167930"/>
                  <a:pt x="3441469" y="5170938"/>
                </a:cubicBezTo>
                <a:close/>
                <a:moveTo>
                  <a:pt x="4395417" y="5170885"/>
                </a:moveTo>
                <a:cubicBezTo>
                  <a:pt x="4411521" y="5171888"/>
                  <a:pt x="4424946" y="5173910"/>
                  <a:pt x="4434628" y="5175852"/>
                </a:cubicBezTo>
                <a:cubicBezTo>
                  <a:pt x="4408754" y="5276930"/>
                  <a:pt x="4356690" y="5335155"/>
                  <a:pt x="4299910" y="5368205"/>
                </a:cubicBezTo>
                <a:cubicBezTo>
                  <a:pt x="4202260" y="5424984"/>
                  <a:pt x="4112752" y="5281536"/>
                  <a:pt x="4206867" y="5219078"/>
                </a:cubicBezTo>
                <a:cubicBezTo>
                  <a:pt x="4274681" y="5174043"/>
                  <a:pt x="4347105" y="5167876"/>
                  <a:pt x="4395417" y="5170885"/>
                </a:cubicBezTo>
                <a:close/>
                <a:moveTo>
                  <a:pt x="4847569" y="5017804"/>
                </a:moveTo>
                <a:cubicBezTo>
                  <a:pt x="4928832" y="5008077"/>
                  <a:pt x="4987069" y="5124736"/>
                  <a:pt x="4904718" y="5179387"/>
                </a:cubicBezTo>
                <a:cubicBezTo>
                  <a:pt x="4814299" y="5239433"/>
                  <a:pt x="4715686" y="5230381"/>
                  <a:pt x="4676958" y="5222614"/>
                </a:cubicBezTo>
                <a:cubicBezTo>
                  <a:pt x="4702830" y="5121536"/>
                  <a:pt x="4754896" y="5063310"/>
                  <a:pt x="4811675" y="5030260"/>
                </a:cubicBezTo>
                <a:cubicBezTo>
                  <a:pt x="4823881" y="5023163"/>
                  <a:pt x="4835960" y="5019194"/>
                  <a:pt x="4847569" y="5017804"/>
                </a:cubicBezTo>
                <a:close/>
                <a:moveTo>
                  <a:pt x="3893729" y="5017697"/>
                </a:moveTo>
                <a:cubicBezTo>
                  <a:pt x="3974992" y="5007970"/>
                  <a:pt x="4033228" y="5124629"/>
                  <a:pt x="3950878" y="5179279"/>
                </a:cubicBezTo>
                <a:cubicBezTo>
                  <a:pt x="3860458" y="5239326"/>
                  <a:pt x="3761844" y="5230274"/>
                  <a:pt x="3723118" y="5222507"/>
                </a:cubicBezTo>
                <a:cubicBezTo>
                  <a:pt x="3748990" y="5121429"/>
                  <a:pt x="3801054" y="5063203"/>
                  <a:pt x="3857835" y="5030153"/>
                </a:cubicBezTo>
                <a:cubicBezTo>
                  <a:pt x="3870041" y="5023055"/>
                  <a:pt x="3882120" y="5019087"/>
                  <a:pt x="3893729" y="5017697"/>
                </a:cubicBezTo>
                <a:close/>
                <a:moveTo>
                  <a:pt x="2939781" y="5017590"/>
                </a:moveTo>
                <a:cubicBezTo>
                  <a:pt x="3021045" y="5007863"/>
                  <a:pt x="3079280" y="5124522"/>
                  <a:pt x="2996930" y="5179173"/>
                </a:cubicBezTo>
                <a:cubicBezTo>
                  <a:pt x="2906511" y="5239219"/>
                  <a:pt x="2807897" y="5230167"/>
                  <a:pt x="2769169" y="5222400"/>
                </a:cubicBezTo>
                <a:cubicBezTo>
                  <a:pt x="2795042" y="5121322"/>
                  <a:pt x="2847107" y="5063096"/>
                  <a:pt x="2903886" y="5030046"/>
                </a:cubicBezTo>
                <a:cubicBezTo>
                  <a:pt x="2916092" y="5022948"/>
                  <a:pt x="2928171" y="5018979"/>
                  <a:pt x="2939781" y="5017590"/>
                </a:cubicBezTo>
                <a:close/>
                <a:moveTo>
                  <a:pt x="1985834" y="5017483"/>
                </a:moveTo>
                <a:cubicBezTo>
                  <a:pt x="2067098" y="5007756"/>
                  <a:pt x="2125333" y="5124415"/>
                  <a:pt x="2042982" y="5179066"/>
                </a:cubicBezTo>
                <a:cubicBezTo>
                  <a:pt x="1952564" y="5239113"/>
                  <a:pt x="1854004" y="5230060"/>
                  <a:pt x="1815223" y="5222292"/>
                </a:cubicBezTo>
                <a:cubicBezTo>
                  <a:pt x="1841095" y="5121214"/>
                  <a:pt x="1893160" y="5062989"/>
                  <a:pt x="1949939" y="5029938"/>
                </a:cubicBezTo>
                <a:cubicBezTo>
                  <a:pt x="1962145" y="5022841"/>
                  <a:pt x="1974225" y="5018872"/>
                  <a:pt x="1985834" y="5017483"/>
                </a:cubicBezTo>
                <a:close/>
                <a:moveTo>
                  <a:pt x="1031886" y="5017376"/>
                </a:moveTo>
                <a:cubicBezTo>
                  <a:pt x="1113150" y="5007649"/>
                  <a:pt x="1171386" y="5124308"/>
                  <a:pt x="1089035" y="5178958"/>
                </a:cubicBezTo>
                <a:cubicBezTo>
                  <a:pt x="998617" y="5239005"/>
                  <a:pt x="900003" y="5229952"/>
                  <a:pt x="861274" y="5222185"/>
                </a:cubicBezTo>
                <a:cubicBezTo>
                  <a:pt x="887093" y="5121107"/>
                  <a:pt x="939213" y="5062881"/>
                  <a:pt x="995992" y="5029832"/>
                </a:cubicBezTo>
                <a:cubicBezTo>
                  <a:pt x="1008198" y="5022735"/>
                  <a:pt x="1020277" y="5018766"/>
                  <a:pt x="1031886" y="5017376"/>
                </a:cubicBezTo>
                <a:close/>
                <a:moveTo>
                  <a:pt x="77992" y="5017269"/>
                </a:moveTo>
                <a:cubicBezTo>
                  <a:pt x="159255" y="5007542"/>
                  <a:pt x="217492" y="5124201"/>
                  <a:pt x="135142" y="5178851"/>
                </a:cubicBezTo>
                <a:cubicBezTo>
                  <a:pt x="89932" y="5208875"/>
                  <a:pt x="42674" y="5221623"/>
                  <a:pt x="1877" y="5225895"/>
                </a:cubicBezTo>
                <a:lnTo>
                  <a:pt x="0" y="5225934"/>
                </a:lnTo>
                <a:lnTo>
                  <a:pt x="0" y="5060306"/>
                </a:lnTo>
                <a:lnTo>
                  <a:pt x="733" y="5059509"/>
                </a:lnTo>
                <a:cubicBezTo>
                  <a:pt x="14003" y="5047823"/>
                  <a:pt x="27904" y="5037987"/>
                  <a:pt x="42098" y="5029725"/>
                </a:cubicBezTo>
                <a:cubicBezTo>
                  <a:pt x="54305" y="5022627"/>
                  <a:pt x="66383" y="5018658"/>
                  <a:pt x="77992" y="5017269"/>
                </a:cubicBezTo>
                <a:close/>
                <a:moveTo>
                  <a:pt x="4965301" y="4904382"/>
                </a:moveTo>
                <a:cubicBezTo>
                  <a:pt x="5069538" y="4907167"/>
                  <a:pt x="5137888" y="4944984"/>
                  <a:pt x="5182722" y="4993032"/>
                </a:cubicBezTo>
                <a:lnTo>
                  <a:pt x="5182776" y="4993032"/>
                </a:lnTo>
                <a:cubicBezTo>
                  <a:pt x="5259803" y="5075630"/>
                  <a:pt x="5139816" y="5194760"/>
                  <a:pt x="5058022" y="5116876"/>
                </a:cubicBezTo>
                <a:cubicBezTo>
                  <a:pt x="4979442" y="5042044"/>
                  <a:pt x="4966318" y="4943913"/>
                  <a:pt x="4965301" y="4904382"/>
                </a:cubicBezTo>
                <a:close/>
                <a:moveTo>
                  <a:pt x="4011352" y="4904275"/>
                </a:moveTo>
                <a:cubicBezTo>
                  <a:pt x="4115644" y="4907060"/>
                  <a:pt x="4183994" y="4944877"/>
                  <a:pt x="4228828" y="4992925"/>
                </a:cubicBezTo>
                <a:cubicBezTo>
                  <a:pt x="4305856" y="5075523"/>
                  <a:pt x="4185869" y="5194653"/>
                  <a:pt x="4104075" y="5116768"/>
                </a:cubicBezTo>
                <a:cubicBezTo>
                  <a:pt x="4025494" y="5041938"/>
                  <a:pt x="4012424" y="4943806"/>
                  <a:pt x="4011352" y="4904275"/>
                </a:cubicBezTo>
                <a:close/>
                <a:moveTo>
                  <a:pt x="3057459" y="4904168"/>
                </a:moveTo>
                <a:cubicBezTo>
                  <a:pt x="3161697" y="4906952"/>
                  <a:pt x="3230047" y="4944769"/>
                  <a:pt x="3274881" y="4992818"/>
                </a:cubicBezTo>
                <a:lnTo>
                  <a:pt x="3274935" y="4992818"/>
                </a:lnTo>
                <a:cubicBezTo>
                  <a:pt x="3351962" y="5075416"/>
                  <a:pt x="3231976" y="5194546"/>
                  <a:pt x="3150180" y="5116661"/>
                </a:cubicBezTo>
                <a:cubicBezTo>
                  <a:pt x="3071600" y="5041831"/>
                  <a:pt x="3058530" y="4943698"/>
                  <a:pt x="3057459" y="4904168"/>
                </a:cubicBezTo>
                <a:close/>
                <a:moveTo>
                  <a:pt x="2103458" y="4904060"/>
                </a:moveTo>
                <a:cubicBezTo>
                  <a:pt x="2207750" y="4906845"/>
                  <a:pt x="2276100" y="4944663"/>
                  <a:pt x="2320934" y="4992711"/>
                </a:cubicBezTo>
                <a:cubicBezTo>
                  <a:pt x="2397961" y="5075309"/>
                  <a:pt x="2277974" y="5194438"/>
                  <a:pt x="2196180" y="5116555"/>
                </a:cubicBezTo>
                <a:cubicBezTo>
                  <a:pt x="2117599" y="5041723"/>
                  <a:pt x="2104530" y="4943591"/>
                  <a:pt x="2103458" y="4904060"/>
                </a:cubicBezTo>
                <a:close/>
                <a:moveTo>
                  <a:pt x="1149564" y="4903953"/>
                </a:moveTo>
                <a:cubicBezTo>
                  <a:pt x="1253856" y="4906738"/>
                  <a:pt x="1322206" y="4944556"/>
                  <a:pt x="1367040" y="4992604"/>
                </a:cubicBezTo>
                <a:cubicBezTo>
                  <a:pt x="1444067" y="5075202"/>
                  <a:pt x="1324081" y="5194331"/>
                  <a:pt x="1242286" y="5116447"/>
                </a:cubicBezTo>
                <a:cubicBezTo>
                  <a:pt x="1163706" y="5041616"/>
                  <a:pt x="1150635" y="4943485"/>
                  <a:pt x="1149564" y="4903953"/>
                </a:cubicBezTo>
                <a:close/>
                <a:moveTo>
                  <a:pt x="195670" y="4903846"/>
                </a:moveTo>
                <a:cubicBezTo>
                  <a:pt x="299962" y="4906631"/>
                  <a:pt x="368312" y="4944449"/>
                  <a:pt x="413146" y="4992497"/>
                </a:cubicBezTo>
                <a:cubicBezTo>
                  <a:pt x="490173" y="5075094"/>
                  <a:pt x="370187" y="5194225"/>
                  <a:pt x="288392" y="5116340"/>
                </a:cubicBezTo>
                <a:cubicBezTo>
                  <a:pt x="209812" y="5041509"/>
                  <a:pt x="196741" y="4943378"/>
                  <a:pt x="195670" y="4903846"/>
                </a:cubicBezTo>
                <a:close/>
                <a:moveTo>
                  <a:pt x="4697956" y="4899775"/>
                </a:moveTo>
                <a:cubicBezTo>
                  <a:pt x="4695170" y="5004067"/>
                  <a:pt x="4657352" y="5072417"/>
                  <a:pt x="4609304" y="5117251"/>
                </a:cubicBezTo>
                <a:cubicBezTo>
                  <a:pt x="4526706" y="5194278"/>
                  <a:pt x="4407576" y="5074291"/>
                  <a:pt x="4485461" y="4992497"/>
                </a:cubicBezTo>
                <a:cubicBezTo>
                  <a:pt x="4560292" y="4913916"/>
                  <a:pt x="4658424" y="4900846"/>
                  <a:pt x="4697956" y="4899775"/>
                </a:cubicBezTo>
                <a:close/>
                <a:moveTo>
                  <a:pt x="3744008" y="4899668"/>
                </a:moveTo>
                <a:cubicBezTo>
                  <a:pt x="3741222" y="5003960"/>
                  <a:pt x="3703405" y="5072310"/>
                  <a:pt x="3655357" y="5117144"/>
                </a:cubicBezTo>
                <a:cubicBezTo>
                  <a:pt x="3572759" y="5194171"/>
                  <a:pt x="3453629" y="5074184"/>
                  <a:pt x="3531514" y="4992389"/>
                </a:cubicBezTo>
                <a:cubicBezTo>
                  <a:pt x="3606345" y="4913809"/>
                  <a:pt x="3704476" y="4900739"/>
                  <a:pt x="3744008" y="4899668"/>
                </a:cubicBezTo>
                <a:close/>
                <a:moveTo>
                  <a:pt x="2790167" y="4899561"/>
                </a:moveTo>
                <a:cubicBezTo>
                  <a:pt x="2787382" y="5003853"/>
                  <a:pt x="2749565" y="5072202"/>
                  <a:pt x="2701516" y="5117037"/>
                </a:cubicBezTo>
                <a:cubicBezTo>
                  <a:pt x="2618918" y="5194064"/>
                  <a:pt x="2499789" y="5074077"/>
                  <a:pt x="2577674" y="4992282"/>
                </a:cubicBezTo>
                <a:cubicBezTo>
                  <a:pt x="2652504" y="4913702"/>
                  <a:pt x="2750636" y="4900632"/>
                  <a:pt x="2790167" y="4899561"/>
                </a:cubicBezTo>
                <a:close/>
                <a:moveTo>
                  <a:pt x="1836112" y="4899453"/>
                </a:moveTo>
                <a:cubicBezTo>
                  <a:pt x="1833328" y="5003745"/>
                  <a:pt x="1795510" y="5072095"/>
                  <a:pt x="1747462" y="5116929"/>
                </a:cubicBezTo>
                <a:cubicBezTo>
                  <a:pt x="1664864" y="5193956"/>
                  <a:pt x="1545734" y="5073970"/>
                  <a:pt x="1623619" y="4992175"/>
                </a:cubicBezTo>
                <a:cubicBezTo>
                  <a:pt x="1698449" y="4913595"/>
                  <a:pt x="1796581" y="4900524"/>
                  <a:pt x="1836112" y="4899453"/>
                </a:cubicBezTo>
                <a:close/>
                <a:moveTo>
                  <a:pt x="882219" y="4899346"/>
                </a:moveTo>
                <a:cubicBezTo>
                  <a:pt x="879434" y="5003638"/>
                  <a:pt x="841617" y="5071988"/>
                  <a:pt x="793568" y="5116822"/>
                </a:cubicBezTo>
                <a:cubicBezTo>
                  <a:pt x="710970" y="5193849"/>
                  <a:pt x="591841" y="5073863"/>
                  <a:pt x="669725" y="4992069"/>
                </a:cubicBezTo>
                <a:cubicBezTo>
                  <a:pt x="744555" y="4913488"/>
                  <a:pt x="842688" y="4900418"/>
                  <a:pt x="882219" y="4899346"/>
                </a:cubicBezTo>
                <a:close/>
                <a:moveTo>
                  <a:pt x="5177582" y="4657702"/>
                </a:moveTo>
                <a:cubicBezTo>
                  <a:pt x="5198926" y="4661020"/>
                  <a:pt x="5219602" y="4673072"/>
                  <a:pt x="5235216" y="4696601"/>
                </a:cubicBezTo>
                <a:lnTo>
                  <a:pt x="5242560" y="4711730"/>
                </a:lnTo>
                <a:lnTo>
                  <a:pt x="5242560" y="4911736"/>
                </a:lnTo>
                <a:lnTo>
                  <a:pt x="5210340" y="4900382"/>
                </a:lnTo>
                <a:cubicBezTo>
                  <a:pt x="5149773" y="4872162"/>
                  <a:pt x="5110824" y="4832229"/>
                  <a:pt x="5086036" y="4789644"/>
                </a:cubicBezTo>
                <a:lnTo>
                  <a:pt x="5086090" y="4789644"/>
                </a:lnTo>
                <a:cubicBezTo>
                  <a:pt x="5043506" y="4716407"/>
                  <a:pt x="5113550" y="4647749"/>
                  <a:pt x="5177582" y="4657702"/>
                </a:cubicBezTo>
                <a:close/>
                <a:moveTo>
                  <a:pt x="4223742" y="4657595"/>
                </a:moveTo>
                <a:cubicBezTo>
                  <a:pt x="4245086" y="4660913"/>
                  <a:pt x="4265762" y="4672965"/>
                  <a:pt x="4281376" y="4696493"/>
                </a:cubicBezTo>
                <a:cubicBezTo>
                  <a:pt x="4341316" y="4786912"/>
                  <a:pt x="4332317" y="4885526"/>
                  <a:pt x="4324550" y="4924254"/>
                </a:cubicBezTo>
                <a:cubicBezTo>
                  <a:pt x="4223472" y="4898382"/>
                  <a:pt x="4165246" y="4846316"/>
                  <a:pt x="4132196" y="4789537"/>
                </a:cubicBezTo>
                <a:lnTo>
                  <a:pt x="4132250" y="4789537"/>
                </a:lnTo>
                <a:cubicBezTo>
                  <a:pt x="4089666" y="4716300"/>
                  <a:pt x="4159710" y="4647643"/>
                  <a:pt x="4223742" y="4657595"/>
                </a:cubicBezTo>
                <a:close/>
                <a:moveTo>
                  <a:pt x="3269794" y="4657489"/>
                </a:moveTo>
                <a:cubicBezTo>
                  <a:pt x="3291139" y="4660806"/>
                  <a:pt x="3311815" y="4672859"/>
                  <a:pt x="3327429" y="4696387"/>
                </a:cubicBezTo>
                <a:cubicBezTo>
                  <a:pt x="3387368" y="4786806"/>
                  <a:pt x="3378370" y="4885419"/>
                  <a:pt x="3370603" y="4924147"/>
                </a:cubicBezTo>
                <a:cubicBezTo>
                  <a:pt x="3269525" y="4898275"/>
                  <a:pt x="3211299" y="4846209"/>
                  <a:pt x="3178249" y="4789430"/>
                </a:cubicBezTo>
                <a:lnTo>
                  <a:pt x="3178303" y="4789430"/>
                </a:lnTo>
                <a:cubicBezTo>
                  <a:pt x="3135719" y="4716193"/>
                  <a:pt x="3205762" y="4647535"/>
                  <a:pt x="3269794" y="4657489"/>
                </a:cubicBezTo>
                <a:close/>
                <a:moveTo>
                  <a:pt x="2315847" y="4657381"/>
                </a:moveTo>
                <a:cubicBezTo>
                  <a:pt x="2337191" y="4660699"/>
                  <a:pt x="2357868" y="4672751"/>
                  <a:pt x="2373482" y="4696280"/>
                </a:cubicBezTo>
                <a:cubicBezTo>
                  <a:pt x="2433528" y="4786699"/>
                  <a:pt x="2424476" y="4885312"/>
                  <a:pt x="2416708" y="4924040"/>
                </a:cubicBezTo>
                <a:cubicBezTo>
                  <a:pt x="2315630" y="4898168"/>
                  <a:pt x="2257406" y="4846103"/>
                  <a:pt x="2224355" y="4789322"/>
                </a:cubicBezTo>
                <a:cubicBezTo>
                  <a:pt x="2181771" y="4716085"/>
                  <a:pt x="2251814" y="4647428"/>
                  <a:pt x="2315847" y="4657381"/>
                </a:cubicBezTo>
                <a:close/>
                <a:moveTo>
                  <a:pt x="1361900" y="4657274"/>
                </a:moveTo>
                <a:cubicBezTo>
                  <a:pt x="1383244" y="4660592"/>
                  <a:pt x="1403920" y="4672644"/>
                  <a:pt x="1419534" y="4696173"/>
                </a:cubicBezTo>
                <a:cubicBezTo>
                  <a:pt x="1479528" y="4786591"/>
                  <a:pt x="1470474" y="4885205"/>
                  <a:pt x="1462708" y="4923932"/>
                </a:cubicBezTo>
                <a:cubicBezTo>
                  <a:pt x="1361629" y="4898060"/>
                  <a:pt x="1303405" y="4845995"/>
                  <a:pt x="1270354" y="4789216"/>
                </a:cubicBezTo>
                <a:lnTo>
                  <a:pt x="1270408" y="4789216"/>
                </a:lnTo>
                <a:cubicBezTo>
                  <a:pt x="1227824" y="4715978"/>
                  <a:pt x="1297867" y="4647321"/>
                  <a:pt x="1361900" y="4657274"/>
                </a:cubicBezTo>
                <a:close/>
                <a:moveTo>
                  <a:pt x="408006" y="4657167"/>
                </a:moveTo>
                <a:cubicBezTo>
                  <a:pt x="429350" y="4660484"/>
                  <a:pt x="450026" y="4672537"/>
                  <a:pt x="465641" y="4696065"/>
                </a:cubicBezTo>
                <a:cubicBezTo>
                  <a:pt x="525634" y="4786484"/>
                  <a:pt x="516581" y="4885098"/>
                  <a:pt x="508814" y="4923825"/>
                </a:cubicBezTo>
                <a:cubicBezTo>
                  <a:pt x="407736" y="4897954"/>
                  <a:pt x="349510" y="4845888"/>
                  <a:pt x="316461" y="4789109"/>
                </a:cubicBezTo>
                <a:lnTo>
                  <a:pt x="316514" y="4789109"/>
                </a:lnTo>
                <a:cubicBezTo>
                  <a:pt x="273930" y="4715872"/>
                  <a:pt x="343973" y="4647214"/>
                  <a:pt x="408006" y="4657167"/>
                </a:cubicBezTo>
                <a:close/>
                <a:moveTo>
                  <a:pt x="4375866" y="4601415"/>
                </a:moveTo>
                <a:cubicBezTo>
                  <a:pt x="4476944" y="4627287"/>
                  <a:pt x="4535170" y="4679353"/>
                  <a:pt x="4568220" y="4736133"/>
                </a:cubicBezTo>
                <a:cubicBezTo>
                  <a:pt x="4624999" y="4833782"/>
                  <a:pt x="4481550" y="4923290"/>
                  <a:pt x="4419094" y="4829175"/>
                </a:cubicBezTo>
                <a:cubicBezTo>
                  <a:pt x="4359100" y="4738757"/>
                  <a:pt x="4368099" y="4640143"/>
                  <a:pt x="4375866" y="4601415"/>
                </a:cubicBezTo>
                <a:close/>
                <a:moveTo>
                  <a:pt x="3422026" y="4601308"/>
                </a:moveTo>
                <a:cubicBezTo>
                  <a:pt x="3523104" y="4627180"/>
                  <a:pt x="3581329" y="4679246"/>
                  <a:pt x="3614380" y="4736025"/>
                </a:cubicBezTo>
                <a:lnTo>
                  <a:pt x="3614326" y="4736025"/>
                </a:lnTo>
                <a:cubicBezTo>
                  <a:pt x="3671105" y="4833675"/>
                  <a:pt x="3527656" y="4923182"/>
                  <a:pt x="3465200" y="4829068"/>
                </a:cubicBezTo>
                <a:cubicBezTo>
                  <a:pt x="3405206" y="4738650"/>
                  <a:pt x="3414258" y="4640036"/>
                  <a:pt x="3422026" y="4601308"/>
                </a:cubicBezTo>
                <a:close/>
                <a:moveTo>
                  <a:pt x="2468078" y="4601201"/>
                </a:moveTo>
                <a:cubicBezTo>
                  <a:pt x="2569156" y="4627073"/>
                  <a:pt x="2627382" y="4679139"/>
                  <a:pt x="2660432" y="4735918"/>
                </a:cubicBezTo>
                <a:lnTo>
                  <a:pt x="2660378" y="4735918"/>
                </a:lnTo>
                <a:cubicBezTo>
                  <a:pt x="2717158" y="4833567"/>
                  <a:pt x="2573709" y="4923076"/>
                  <a:pt x="2511252" y="4828962"/>
                </a:cubicBezTo>
                <a:cubicBezTo>
                  <a:pt x="2451259" y="4738543"/>
                  <a:pt x="2460311" y="4639929"/>
                  <a:pt x="2468078" y="4601201"/>
                </a:cubicBezTo>
                <a:close/>
                <a:moveTo>
                  <a:pt x="1514130" y="4601093"/>
                </a:moveTo>
                <a:cubicBezTo>
                  <a:pt x="1615208" y="4626965"/>
                  <a:pt x="1673434" y="4679031"/>
                  <a:pt x="1706485" y="4735811"/>
                </a:cubicBezTo>
                <a:lnTo>
                  <a:pt x="1706431" y="4735811"/>
                </a:lnTo>
                <a:cubicBezTo>
                  <a:pt x="1763210" y="4833461"/>
                  <a:pt x="1619762" y="4922969"/>
                  <a:pt x="1557305" y="4828854"/>
                </a:cubicBezTo>
                <a:cubicBezTo>
                  <a:pt x="1497365" y="4738436"/>
                  <a:pt x="1506363" y="4639821"/>
                  <a:pt x="1514130" y="4601093"/>
                </a:cubicBezTo>
                <a:close/>
                <a:moveTo>
                  <a:pt x="560183" y="4600987"/>
                </a:moveTo>
                <a:cubicBezTo>
                  <a:pt x="661261" y="4626858"/>
                  <a:pt x="719487" y="4678924"/>
                  <a:pt x="752536" y="4735703"/>
                </a:cubicBezTo>
                <a:cubicBezTo>
                  <a:pt x="809317" y="4833354"/>
                  <a:pt x="665868" y="4922861"/>
                  <a:pt x="603411" y="4828747"/>
                </a:cubicBezTo>
                <a:cubicBezTo>
                  <a:pt x="543364" y="4738328"/>
                  <a:pt x="552416" y="4639714"/>
                  <a:pt x="560183" y="4600987"/>
                </a:cubicBezTo>
                <a:close/>
                <a:moveTo>
                  <a:pt x="5123546" y="4385413"/>
                </a:moveTo>
                <a:cubicBezTo>
                  <a:pt x="5188247" y="4390498"/>
                  <a:pt x="5240654" y="4473327"/>
                  <a:pt x="5182240" y="4534673"/>
                </a:cubicBezTo>
                <a:cubicBezTo>
                  <a:pt x="5107410" y="4613253"/>
                  <a:pt x="5009278" y="4626323"/>
                  <a:pt x="4969746" y="4627395"/>
                </a:cubicBezTo>
                <a:cubicBezTo>
                  <a:pt x="4972532" y="4523156"/>
                  <a:pt x="5010349" y="4454807"/>
                  <a:pt x="5058397" y="4409972"/>
                </a:cubicBezTo>
                <a:lnTo>
                  <a:pt x="5058397" y="4409919"/>
                </a:lnTo>
                <a:cubicBezTo>
                  <a:pt x="5079046" y="4390662"/>
                  <a:pt x="5101979" y="4383719"/>
                  <a:pt x="5123546" y="4385413"/>
                </a:cubicBezTo>
                <a:close/>
                <a:moveTo>
                  <a:pt x="4169599" y="4385306"/>
                </a:moveTo>
                <a:cubicBezTo>
                  <a:pt x="4234300" y="4390391"/>
                  <a:pt x="4286707" y="4473220"/>
                  <a:pt x="4228293" y="4534566"/>
                </a:cubicBezTo>
                <a:cubicBezTo>
                  <a:pt x="4153462" y="4613146"/>
                  <a:pt x="4055330" y="4626216"/>
                  <a:pt x="4015798" y="4627287"/>
                </a:cubicBezTo>
                <a:cubicBezTo>
                  <a:pt x="4018584" y="4523049"/>
                  <a:pt x="4056402" y="4454699"/>
                  <a:pt x="4104450" y="4409865"/>
                </a:cubicBezTo>
                <a:lnTo>
                  <a:pt x="4104450" y="4409811"/>
                </a:lnTo>
                <a:cubicBezTo>
                  <a:pt x="4125100" y="4390555"/>
                  <a:pt x="4148032" y="4383611"/>
                  <a:pt x="4169599" y="4385306"/>
                </a:cubicBezTo>
                <a:close/>
                <a:moveTo>
                  <a:pt x="4544847" y="4385225"/>
                </a:moveTo>
                <a:cubicBezTo>
                  <a:pt x="4566395" y="4383718"/>
                  <a:pt x="4589230" y="4390876"/>
                  <a:pt x="4609679" y="4410347"/>
                </a:cubicBezTo>
                <a:cubicBezTo>
                  <a:pt x="4688260" y="4485178"/>
                  <a:pt x="4701383" y="4583310"/>
                  <a:pt x="4702400" y="4622841"/>
                </a:cubicBezTo>
                <a:cubicBezTo>
                  <a:pt x="4598110" y="4620056"/>
                  <a:pt x="4529760" y="4582238"/>
                  <a:pt x="4484926" y="4534190"/>
                </a:cubicBezTo>
                <a:cubicBezTo>
                  <a:pt x="4427155" y="4472242"/>
                  <a:pt x="4480205" y="4389745"/>
                  <a:pt x="4544847" y="4385225"/>
                </a:cubicBezTo>
                <a:close/>
                <a:moveTo>
                  <a:pt x="3215705" y="4385198"/>
                </a:moveTo>
                <a:cubicBezTo>
                  <a:pt x="3280406" y="4390283"/>
                  <a:pt x="3332813" y="4473112"/>
                  <a:pt x="3274400" y="4534458"/>
                </a:cubicBezTo>
                <a:cubicBezTo>
                  <a:pt x="3199568" y="4613039"/>
                  <a:pt x="3101436" y="4626109"/>
                  <a:pt x="3061905" y="4627180"/>
                </a:cubicBezTo>
                <a:cubicBezTo>
                  <a:pt x="3064690" y="4522942"/>
                  <a:pt x="3102508" y="4454592"/>
                  <a:pt x="3150556" y="4409758"/>
                </a:cubicBezTo>
                <a:lnTo>
                  <a:pt x="3150556" y="4409704"/>
                </a:lnTo>
                <a:cubicBezTo>
                  <a:pt x="3171206" y="4390447"/>
                  <a:pt x="3194138" y="4383504"/>
                  <a:pt x="3215705" y="4385198"/>
                </a:cubicBezTo>
                <a:close/>
                <a:moveTo>
                  <a:pt x="3590900" y="4385118"/>
                </a:moveTo>
                <a:cubicBezTo>
                  <a:pt x="3612448" y="4383612"/>
                  <a:pt x="3635283" y="4390770"/>
                  <a:pt x="3655732" y="4410241"/>
                </a:cubicBezTo>
                <a:cubicBezTo>
                  <a:pt x="3734312" y="4485071"/>
                  <a:pt x="3747382" y="4583203"/>
                  <a:pt x="3748453" y="4622734"/>
                </a:cubicBezTo>
                <a:cubicBezTo>
                  <a:pt x="3644162" y="4619949"/>
                  <a:pt x="3575812" y="4582131"/>
                  <a:pt x="3530978" y="4534084"/>
                </a:cubicBezTo>
                <a:cubicBezTo>
                  <a:pt x="3473208" y="4472135"/>
                  <a:pt x="3526258" y="4389638"/>
                  <a:pt x="3590900" y="4385118"/>
                </a:cubicBezTo>
                <a:close/>
                <a:moveTo>
                  <a:pt x="2261704" y="4385092"/>
                </a:moveTo>
                <a:cubicBezTo>
                  <a:pt x="2326404" y="4390177"/>
                  <a:pt x="2378812" y="4473005"/>
                  <a:pt x="2320398" y="4534351"/>
                </a:cubicBezTo>
                <a:cubicBezTo>
                  <a:pt x="2245567" y="4612932"/>
                  <a:pt x="2147434" y="4626002"/>
                  <a:pt x="2107904" y="4627073"/>
                </a:cubicBezTo>
                <a:cubicBezTo>
                  <a:pt x="2110690" y="4522834"/>
                  <a:pt x="2148506" y="4454485"/>
                  <a:pt x="2196555" y="4409650"/>
                </a:cubicBezTo>
                <a:lnTo>
                  <a:pt x="2196555" y="4409597"/>
                </a:lnTo>
                <a:cubicBezTo>
                  <a:pt x="2217204" y="4390340"/>
                  <a:pt x="2240137" y="4383397"/>
                  <a:pt x="2261704" y="4385092"/>
                </a:cubicBezTo>
                <a:close/>
                <a:moveTo>
                  <a:pt x="2637006" y="4385011"/>
                </a:moveTo>
                <a:cubicBezTo>
                  <a:pt x="2658554" y="4383504"/>
                  <a:pt x="2681390" y="4390662"/>
                  <a:pt x="2701838" y="4410133"/>
                </a:cubicBezTo>
                <a:cubicBezTo>
                  <a:pt x="2780418" y="4484964"/>
                  <a:pt x="2793542" y="4583096"/>
                  <a:pt x="2794559" y="4622627"/>
                </a:cubicBezTo>
                <a:cubicBezTo>
                  <a:pt x="2690321" y="4619842"/>
                  <a:pt x="2621971" y="4582024"/>
                  <a:pt x="2577137" y="4533977"/>
                </a:cubicBezTo>
                <a:lnTo>
                  <a:pt x="2577084" y="4533977"/>
                </a:lnTo>
                <a:cubicBezTo>
                  <a:pt x="2519313" y="4472028"/>
                  <a:pt x="2572364" y="4389530"/>
                  <a:pt x="2637006" y="4385011"/>
                </a:cubicBezTo>
                <a:close/>
                <a:moveTo>
                  <a:pt x="1307810" y="4384985"/>
                </a:moveTo>
                <a:cubicBezTo>
                  <a:pt x="1372511" y="4390069"/>
                  <a:pt x="1424917" y="4472898"/>
                  <a:pt x="1366505" y="4534244"/>
                </a:cubicBezTo>
                <a:cubicBezTo>
                  <a:pt x="1291673" y="4612825"/>
                  <a:pt x="1193542" y="4625894"/>
                  <a:pt x="1154010" y="4626965"/>
                </a:cubicBezTo>
                <a:cubicBezTo>
                  <a:pt x="1156796" y="4522728"/>
                  <a:pt x="1194613" y="4454378"/>
                  <a:pt x="1242661" y="4409544"/>
                </a:cubicBezTo>
                <a:lnTo>
                  <a:pt x="1242661" y="4409490"/>
                </a:lnTo>
                <a:cubicBezTo>
                  <a:pt x="1263311" y="4390234"/>
                  <a:pt x="1286244" y="4383290"/>
                  <a:pt x="1307810" y="4384985"/>
                </a:cubicBezTo>
                <a:close/>
                <a:moveTo>
                  <a:pt x="1683005" y="4384904"/>
                </a:moveTo>
                <a:cubicBezTo>
                  <a:pt x="1704553" y="4383397"/>
                  <a:pt x="1727388" y="4390555"/>
                  <a:pt x="1747836" y="4410026"/>
                </a:cubicBezTo>
                <a:cubicBezTo>
                  <a:pt x="1826418" y="4484857"/>
                  <a:pt x="1839487" y="4582989"/>
                  <a:pt x="1840558" y="4622519"/>
                </a:cubicBezTo>
                <a:cubicBezTo>
                  <a:pt x="1736266" y="4619735"/>
                  <a:pt x="1667918" y="4581918"/>
                  <a:pt x="1623083" y="4533869"/>
                </a:cubicBezTo>
                <a:cubicBezTo>
                  <a:pt x="1565313" y="4471921"/>
                  <a:pt x="1618363" y="4389423"/>
                  <a:pt x="1683005" y="4384904"/>
                </a:cubicBezTo>
                <a:close/>
                <a:moveTo>
                  <a:pt x="353970" y="4384878"/>
                </a:moveTo>
                <a:cubicBezTo>
                  <a:pt x="418670" y="4389962"/>
                  <a:pt x="471077" y="4472791"/>
                  <a:pt x="412663" y="4534137"/>
                </a:cubicBezTo>
                <a:cubicBezTo>
                  <a:pt x="337833" y="4612717"/>
                  <a:pt x="239701" y="4625787"/>
                  <a:pt x="200170" y="4626858"/>
                </a:cubicBezTo>
                <a:cubicBezTo>
                  <a:pt x="202955" y="4522621"/>
                  <a:pt x="240773" y="4454271"/>
                  <a:pt x="288821" y="4409437"/>
                </a:cubicBezTo>
                <a:lnTo>
                  <a:pt x="288821" y="4409383"/>
                </a:lnTo>
                <a:cubicBezTo>
                  <a:pt x="309471" y="4390126"/>
                  <a:pt x="332403" y="4383183"/>
                  <a:pt x="353970" y="4384878"/>
                </a:cubicBezTo>
                <a:close/>
                <a:moveTo>
                  <a:pt x="729111" y="4384796"/>
                </a:moveTo>
                <a:cubicBezTo>
                  <a:pt x="750659" y="4383290"/>
                  <a:pt x="773495" y="4390448"/>
                  <a:pt x="793943" y="4409919"/>
                </a:cubicBezTo>
                <a:cubicBezTo>
                  <a:pt x="872524" y="4484750"/>
                  <a:pt x="885594" y="4582881"/>
                  <a:pt x="886665" y="4622413"/>
                </a:cubicBezTo>
                <a:cubicBezTo>
                  <a:pt x="782373" y="4619627"/>
                  <a:pt x="714023" y="4581810"/>
                  <a:pt x="669189" y="4533762"/>
                </a:cubicBezTo>
                <a:cubicBezTo>
                  <a:pt x="611419" y="4471814"/>
                  <a:pt x="664468" y="4389316"/>
                  <a:pt x="729111" y="4384796"/>
                </a:cubicBezTo>
                <a:close/>
                <a:moveTo>
                  <a:pt x="4964871" y="4302962"/>
                </a:moveTo>
                <a:cubicBezTo>
                  <a:pt x="4980975" y="4303966"/>
                  <a:pt x="4994400" y="4305988"/>
                  <a:pt x="5004082" y="4307929"/>
                </a:cubicBezTo>
                <a:cubicBezTo>
                  <a:pt x="4978210" y="4409008"/>
                  <a:pt x="4926144" y="4467233"/>
                  <a:pt x="4869364" y="4500284"/>
                </a:cubicBezTo>
                <a:lnTo>
                  <a:pt x="4869364" y="4500230"/>
                </a:lnTo>
                <a:cubicBezTo>
                  <a:pt x="4771715" y="4557009"/>
                  <a:pt x="4682208" y="4413561"/>
                  <a:pt x="4776322" y="4351104"/>
                </a:cubicBezTo>
                <a:cubicBezTo>
                  <a:pt x="4844135" y="4306109"/>
                  <a:pt x="4916559" y="4299952"/>
                  <a:pt x="4964871" y="4302962"/>
                </a:cubicBezTo>
                <a:close/>
                <a:moveTo>
                  <a:pt x="5242560" y="4302862"/>
                </a:moveTo>
                <a:lnTo>
                  <a:pt x="5242560" y="4351463"/>
                </a:lnTo>
                <a:lnTo>
                  <a:pt x="5226164" y="4349390"/>
                </a:lnTo>
                <a:close/>
                <a:moveTo>
                  <a:pt x="4010923" y="4302855"/>
                </a:moveTo>
                <a:cubicBezTo>
                  <a:pt x="4027027" y="4303859"/>
                  <a:pt x="4040452" y="4305881"/>
                  <a:pt x="4050134" y="4307822"/>
                </a:cubicBezTo>
                <a:cubicBezTo>
                  <a:pt x="4024262" y="4408901"/>
                  <a:pt x="3972196" y="4467127"/>
                  <a:pt x="3915417" y="4500176"/>
                </a:cubicBezTo>
                <a:lnTo>
                  <a:pt x="3915417" y="4500123"/>
                </a:lnTo>
                <a:cubicBezTo>
                  <a:pt x="3817768" y="4556902"/>
                  <a:pt x="3728260" y="4413453"/>
                  <a:pt x="3822374" y="4350996"/>
                </a:cubicBezTo>
                <a:cubicBezTo>
                  <a:pt x="3890187" y="4306001"/>
                  <a:pt x="3962611" y="4299845"/>
                  <a:pt x="4010923" y="4302855"/>
                </a:cubicBezTo>
                <a:close/>
                <a:moveTo>
                  <a:pt x="3057060" y="4302748"/>
                </a:moveTo>
                <a:cubicBezTo>
                  <a:pt x="3073167" y="4303752"/>
                  <a:pt x="3086599" y="4305774"/>
                  <a:pt x="3096294" y="4307716"/>
                </a:cubicBezTo>
                <a:cubicBezTo>
                  <a:pt x="3070475" y="4408794"/>
                  <a:pt x="3018356" y="4467020"/>
                  <a:pt x="2961577" y="4500069"/>
                </a:cubicBezTo>
                <a:lnTo>
                  <a:pt x="2961577" y="4500015"/>
                </a:lnTo>
                <a:cubicBezTo>
                  <a:pt x="2863926" y="4556796"/>
                  <a:pt x="2774419" y="4413347"/>
                  <a:pt x="2868533" y="4350890"/>
                </a:cubicBezTo>
                <a:cubicBezTo>
                  <a:pt x="2936347" y="4305894"/>
                  <a:pt x="3008741" y="4299738"/>
                  <a:pt x="3057060" y="4302748"/>
                </a:cubicBezTo>
                <a:close/>
                <a:moveTo>
                  <a:pt x="2103029" y="4302641"/>
                </a:moveTo>
                <a:cubicBezTo>
                  <a:pt x="2119133" y="4303645"/>
                  <a:pt x="2132558" y="4305667"/>
                  <a:pt x="2142240" y="4307609"/>
                </a:cubicBezTo>
                <a:cubicBezTo>
                  <a:pt x="2116368" y="4408687"/>
                  <a:pt x="2064301" y="4466912"/>
                  <a:pt x="2007522" y="4499963"/>
                </a:cubicBezTo>
                <a:lnTo>
                  <a:pt x="2007522" y="4499909"/>
                </a:lnTo>
                <a:cubicBezTo>
                  <a:pt x="1909873" y="4556688"/>
                  <a:pt x="1820364" y="4413240"/>
                  <a:pt x="1914478" y="4350783"/>
                </a:cubicBezTo>
                <a:cubicBezTo>
                  <a:pt x="1982292" y="4305787"/>
                  <a:pt x="2054716" y="4299630"/>
                  <a:pt x="2103029" y="4302641"/>
                </a:cubicBezTo>
                <a:close/>
                <a:moveTo>
                  <a:pt x="1149135" y="4302534"/>
                </a:moveTo>
                <a:cubicBezTo>
                  <a:pt x="1165239" y="4303538"/>
                  <a:pt x="1178664" y="4305560"/>
                  <a:pt x="1188346" y="4307501"/>
                </a:cubicBezTo>
                <a:cubicBezTo>
                  <a:pt x="1162527" y="4408579"/>
                  <a:pt x="1110408" y="4466805"/>
                  <a:pt x="1053628" y="4499855"/>
                </a:cubicBezTo>
                <a:lnTo>
                  <a:pt x="1053628" y="4499802"/>
                </a:lnTo>
                <a:cubicBezTo>
                  <a:pt x="955979" y="4556581"/>
                  <a:pt x="866470" y="4413133"/>
                  <a:pt x="960585" y="4350675"/>
                </a:cubicBezTo>
                <a:cubicBezTo>
                  <a:pt x="1028399" y="4305680"/>
                  <a:pt x="1100823" y="4299524"/>
                  <a:pt x="1149135" y="4302534"/>
                </a:cubicBezTo>
                <a:close/>
                <a:moveTo>
                  <a:pt x="195295" y="4302427"/>
                </a:moveTo>
                <a:cubicBezTo>
                  <a:pt x="211399" y="4303430"/>
                  <a:pt x="224824" y="4305452"/>
                  <a:pt x="234506" y="4307394"/>
                </a:cubicBezTo>
                <a:cubicBezTo>
                  <a:pt x="208633" y="4408472"/>
                  <a:pt x="156568" y="4466698"/>
                  <a:pt x="99788" y="4499748"/>
                </a:cubicBezTo>
                <a:lnTo>
                  <a:pt x="99788" y="4499694"/>
                </a:lnTo>
                <a:cubicBezTo>
                  <a:pt x="63170" y="4520987"/>
                  <a:pt x="27696" y="4514122"/>
                  <a:pt x="2621" y="4493930"/>
                </a:cubicBezTo>
                <a:lnTo>
                  <a:pt x="0" y="4490962"/>
                </a:lnTo>
                <a:lnTo>
                  <a:pt x="0" y="4357223"/>
                </a:lnTo>
                <a:lnTo>
                  <a:pt x="6745" y="4350568"/>
                </a:lnTo>
                <a:cubicBezTo>
                  <a:pt x="74559" y="4305573"/>
                  <a:pt x="146983" y="4299417"/>
                  <a:pt x="195295" y="4302427"/>
                </a:cubicBezTo>
                <a:close/>
                <a:moveTo>
                  <a:pt x="4442775" y="4144580"/>
                </a:moveTo>
                <a:cubicBezTo>
                  <a:pt x="4524038" y="4134853"/>
                  <a:pt x="4582274" y="4251512"/>
                  <a:pt x="4499924" y="4306162"/>
                </a:cubicBezTo>
                <a:cubicBezTo>
                  <a:pt x="4409505" y="4366155"/>
                  <a:pt x="4310890" y="4357156"/>
                  <a:pt x="4272164" y="4349390"/>
                </a:cubicBezTo>
                <a:cubicBezTo>
                  <a:pt x="4298036" y="4248312"/>
                  <a:pt x="4350100" y="4190086"/>
                  <a:pt x="4406881" y="4157036"/>
                </a:cubicBezTo>
                <a:cubicBezTo>
                  <a:pt x="4419087" y="4149938"/>
                  <a:pt x="4431166" y="4145969"/>
                  <a:pt x="4442775" y="4144580"/>
                </a:cubicBezTo>
                <a:close/>
                <a:moveTo>
                  <a:pt x="3488880" y="4144580"/>
                </a:moveTo>
                <a:cubicBezTo>
                  <a:pt x="3570144" y="4134853"/>
                  <a:pt x="3628380" y="4251512"/>
                  <a:pt x="3546030" y="4306162"/>
                </a:cubicBezTo>
                <a:cubicBezTo>
                  <a:pt x="3455611" y="4366155"/>
                  <a:pt x="3357050" y="4357156"/>
                  <a:pt x="3318269" y="4349390"/>
                </a:cubicBezTo>
                <a:cubicBezTo>
                  <a:pt x="3344087" y="4248312"/>
                  <a:pt x="3396207" y="4190086"/>
                  <a:pt x="3452986" y="4157036"/>
                </a:cubicBezTo>
                <a:cubicBezTo>
                  <a:pt x="3465192" y="4149938"/>
                  <a:pt x="3477271" y="4145969"/>
                  <a:pt x="3488880" y="4144580"/>
                </a:cubicBezTo>
                <a:close/>
                <a:moveTo>
                  <a:pt x="2534933" y="4144580"/>
                </a:moveTo>
                <a:cubicBezTo>
                  <a:pt x="2616197" y="4134853"/>
                  <a:pt x="2674433" y="4251512"/>
                  <a:pt x="2592082" y="4306162"/>
                </a:cubicBezTo>
                <a:cubicBezTo>
                  <a:pt x="2501664" y="4366155"/>
                  <a:pt x="2403050" y="4357156"/>
                  <a:pt x="2364322" y="4349390"/>
                </a:cubicBezTo>
                <a:cubicBezTo>
                  <a:pt x="2390141" y="4248312"/>
                  <a:pt x="2442260" y="4190086"/>
                  <a:pt x="2499039" y="4157036"/>
                </a:cubicBezTo>
                <a:cubicBezTo>
                  <a:pt x="2511245" y="4149938"/>
                  <a:pt x="2523324" y="4145969"/>
                  <a:pt x="2534933" y="4144580"/>
                </a:cubicBezTo>
                <a:close/>
                <a:moveTo>
                  <a:pt x="1580986" y="4144580"/>
                </a:moveTo>
                <a:cubicBezTo>
                  <a:pt x="1662250" y="4134853"/>
                  <a:pt x="1720486" y="4251512"/>
                  <a:pt x="1638135" y="4306162"/>
                </a:cubicBezTo>
                <a:cubicBezTo>
                  <a:pt x="1547716" y="4366155"/>
                  <a:pt x="1449102" y="4357156"/>
                  <a:pt x="1410374" y="4349390"/>
                </a:cubicBezTo>
                <a:cubicBezTo>
                  <a:pt x="1436246" y="4248312"/>
                  <a:pt x="1488312" y="4190086"/>
                  <a:pt x="1545092" y="4157036"/>
                </a:cubicBezTo>
                <a:cubicBezTo>
                  <a:pt x="1557298" y="4149938"/>
                  <a:pt x="1569377" y="4145969"/>
                  <a:pt x="1580986" y="4144580"/>
                </a:cubicBezTo>
                <a:close/>
                <a:moveTo>
                  <a:pt x="627146" y="4144580"/>
                </a:moveTo>
                <a:cubicBezTo>
                  <a:pt x="708409" y="4134853"/>
                  <a:pt x="766645" y="4251512"/>
                  <a:pt x="684295" y="4306162"/>
                </a:cubicBezTo>
                <a:cubicBezTo>
                  <a:pt x="593876" y="4366155"/>
                  <a:pt x="495316" y="4357156"/>
                  <a:pt x="456534" y="4349390"/>
                </a:cubicBezTo>
                <a:cubicBezTo>
                  <a:pt x="482352" y="4248312"/>
                  <a:pt x="534472" y="4190086"/>
                  <a:pt x="591251" y="4157036"/>
                </a:cubicBezTo>
                <a:cubicBezTo>
                  <a:pt x="603458" y="4149938"/>
                  <a:pt x="615537" y="4145969"/>
                  <a:pt x="627146" y="4144580"/>
                </a:cubicBezTo>
                <a:close/>
                <a:moveTo>
                  <a:pt x="0" y="4112533"/>
                </a:moveTo>
                <a:lnTo>
                  <a:pt x="8245" y="4119808"/>
                </a:lnTo>
                <a:lnTo>
                  <a:pt x="8298" y="4119808"/>
                </a:lnTo>
                <a:cubicBezTo>
                  <a:pt x="46812" y="4161106"/>
                  <a:pt x="36072" y="4211539"/>
                  <a:pt x="5480" y="4241910"/>
                </a:cubicBezTo>
                <a:lnTo>
                  <a:pt x="0" y="4245791"/>
                </a:lnTo>
                <a:close/>
                <a:moveTo>
                  <a:pt x="4560452" y="4031156"/>
                </a:moveTo>
                <a:cubicBezTo>
                  <a:pt x="4664690" y="4033942"/>
                  <a:pt x="4733040" y="4071759"/>
                  <a:pt x="4777874" y="4119808"/>
                </a:cubicBezTo>
                <a:lnTo>
                  <a:pt x="4777928" y="4119808"/>
                </a:lnTo>
                <a:cubicBezTo>
                  <a:pt x="4854956" y="4202405"/>
                  <a:pt x="4734969" y="4321536"/>
                  <a:pt x="4653175" y="4243651"/>
                </a:cubicBezTo>
                <a:cubicBezTo>
                  <a:pt x="4574594" y="4168821"/>
                  <a:pt x="4561524" y="4070688"/>
                  <a:pt x="4560452" y="4031156"/>
                </a:cubicBezTo>
                <a:close/>
                <a:moveTo>
                  <a:pt x="3606505" y="4031156"/>
                </a:moveTo>
                <a:cubicBezTo>
                  <a:pt x="3710797" y="4033942"/>
                  <a:pt x="3779146" y="4071759"/>
                  <a:pt x="3823981" y="4119808"/>
                </a:cubicBezTo>
                <a:cubicBezTo>
                  <a:pt x="3901008" y="4202405"/>
                  <a:pt x="3781022" y="4321536"/>
                  <a:pt x="3699226" y="4243651"/>
                </a:cubicBezTo>
                <a:cubicBezTo>
                  <a:pt x="3620646" y="4168821"/>
                  <a:pt x="3607577" y="4070688"/>
                  <a:pt x="3606505" y="4031156"/>
                </a:cubicBezTo>
                <a:close/>
                <a:moveTo>
                  <a:pt x="2652558" y="4031156"/>
                </a:moveTo>
                <a:cubicBezTo>
                  <a:pt x="2756850" y="4033942"/>
                  <a:pt x="2825199" y="4071759"/>
                  <a:pt x="2870034" y="4119808"/>
                </a:cubicBezTo>
                <a:cubicBezTo>
                  <a:pt x="2947060" y="4202405"/>
                  <a:pt x="2827074" y="4321536"/>
                  <a:pt x="2745279" y="4243651"/>
                </a:cubicBezTo>
                <a:cubicBezTo>
                  <a:pt x="2666699" y="4168821"/>
                  <a:pt x="2653628" y="4070688"/>
                  <a:pt x="2652558" y="4031156"/>
                </a:cubicBezTo>
                <a:close/>
                <a:moveTo>
                  <a:pt x="1698664" y="4031156"/>
                </a:moveTo>
                <a:cubicBezTo>
                  <a:pt x="1802956" y="4033942"/>
                  <a:pt x="1871306" y="4071759"/>
                  <a:pt x="1916140" y="4119808"/>
                </a:cubicBezTo>
                <a:cubicBezTo>
                  <a:pt x="1993167" y="4202405"/>
                  <a:pt x="1873180" y="4321536"/>
                  <a:pt x="1791385" y="4243651"/>
                </a:cubicBezTo>
                <a:cubicBezTo>
                  <a:pt x="1712805" y="4168821"/>
                  <a:pt x="1699735" y="4070688"/>
                  <a:pt x="1698664" y="4031156"/>
                </a:cubicBezTo>
                <a:close/>
                <a:moveTo>
                  <a:pt x="744824" y="4031156"/>
                </a:moveTo>
                <a:cubicBezTo>
                  <a:pt x="849116" y="4033942"/>
                  <a:pt x="917465" y="4071759"/>
                  <a:pt x="962299" y="4119808"/>
                </a:cubicBezTo>
                <a:cubicBezTo>
                  <a:pt x="1039327" y="4202405"/>
                  <a:pt x="919340" y="4321536"/>
                  <a:pt x="837545" y="4243651"/>
                </a:cubicBezTo>
                <a:cubicBezTo>
                  <a:pt x="758964" y="4168821"/>
                  <a:pt x="745895" y="4070688"/>
                  <a:pt x="744824" y="4031156"/>
                </a:cubicBezTo>
                <a:close/>
                <a:moveTo>
                  <a:pt x="5242560" y="4026995"/>
                </a:moveTo>
                <a:lnTo>
                  <a:pt x="5242560" y="4065514"/>
                </a:lnTo>
                <a:lnTo>
                  <a:pt x="5238786" y="4098224"/>
                </a:lnTo>
                <a:cubicBezTo>
                  <a:pt x="5224722" y="4163547"/>
                  <a:pt x="5194440" y="4210400"/>
                  <a:pt x="5158404" y="4244027"/>
                </a:cubicBezTo>
                <a:cubicBezTo>
                  <a:pt x="5075806" y="4321054"/>
                  <a:pt x="4956676" y="4201066"/>
                  <a:pt x="5034560" y="4119272"/>
                </a:cubicBezTo>
                <a:cubicBezTo>
                  <a:pt x="5090684" y="4060336"/>
                  <a:pt x="5159914" y="4038251"/>
                  <a:pt x="5207699" y="4030440"/>
                </a:cubicBezTo>
                <a:close/>
                <a:moveTo>
                  <a:pt x="4293160" y="4026551"/>
                </a:moveTo>
                <a:cubicBezTo>
                  <a:pt x="4290376" y="4130843"/>
                  <a:pt x="4252558" y="4199191"/>
                  <a:pt x="4204510" y="4244027"/>
                </a:cubicBezTo>
                <a:cubicBezTo>
                  <a:pt x="4121912" y="4321054"/>
                  <a:pt x="4002782" y="4201066"/>
                  <a:pt x="4080667" y="4119272"/>
                </a:cubicBezTo>
                <a:cubicBezTo>
                  <a:pt x="4155498" y="4040691"/>
                  <a:pt x="4253630" y="4027622"/>
                  <a:pt x="4293160" y="4026551"/>
                </a:cubicBezTo>
                <a:close/>
                <a:moveTo>
                  <a:pt x="3339160" y="4026551"/>
                </a:moveTo>
                <a:cubicBezTo>
                  <a:pt x="3336374" y="4130843"/>
                  <a:pt x="3298558" y="4199191"/>
                  <a:pt x="3250510" y="4244027"/>
                </a:cubicBezTo>
                <a:cubicBezTo>
                  <a:pt x="3167910" y="4321054"/>
                  <a:pt x="3048782" y="4201066"/>
                  <a:pt x="3126666" y="4119272"/>
                </a:cubicBezTo>
                <a:cubicBezTo>
                  <a:pt x="3201496" y="4040691"/>
                  <a:pt x="3299628" y="4027622"/>
                  <a:pt x="3339160" y="4026551"/>
                </a:cubicBezTo>
                <a:close/>
                <a:moveTo>
                  <a:pt x="2385212" y="4026551"/>
                </a:moveTo>
                <a:cubicBezTo>
                  <a:pt x="2382427" y="4130843"/>
                  <a:pt x="2344610" y="4199191"/>
                  <a:pt x="2296562" y="4244027"/>
                </a:cubicBezTo>
                <a:cubicBezTo>
                  <a:pt x="2213963" y="4321054"/>
                  <a:pt x="2094834" y="4201066"/>
                  <a:pt x="2172718" y="4119272"/>
                </a:cubicBezTo>
                <a:cubicBezTo>
                  <a:pt x="2247549" y="4040691"/>
                  <a:pt x="2345681" y="4027622"/>
                  <a:pt x="2385212" y="4026551"/>
                </a:cubicBezTo>
                <a:close/>
                <a:moveTo>
                  <a:pt x="1431372" y="4026551"/>
                </a:moveTo>
                <a:cubicBezTo>
                  <a:pt x="1428586" y="4130843"/>
                  <a:pt x="1390769" y="4199191"/>
                  <a:pt x="1342721" y="4244027"/>
                </a:cubicBezTo>
                <a:cubicBezTo>
                  <a:pt x="1260123" y="4321054"/>
                  <a:pt x="1140994" y="4201066"/>
                  <a:pt x="1218877" y="4119272"/>
                </a:cubicBezTo>
                <a:cubicBezTo>
                  <a:pt x="1293709" y="4040691"/>
                  <a:pt x="1391841" y="4027622"/>
                  <a:pt x="1431372" y="4026551"/>
                </a:cubicBezTo>
                <a:close/>
                <a:moveTo>
                  <a:pt x="477478" y="4026551"/>
                </a:moveTo>
                <a:cubicBezTo>
                  <a:pt x="474693" y="4130843"/>
                  <a:pt x="436875" y="4199191"/>
                  <a:pt x="388827" y="4244027"/>
                </a:cubicBezTo>
                <a:cubicBezTo>
                  <a:pt x="306229" y="4321054"/>
                  <a:pt x="187100" y="4201066"/>
                  <a:pt x="264984" y="4119272"/>
                </a:cubicBezTo>
                <a:cubicBezTo>
                  <a:pt x="339815" y="4040691"/>
                  <a:pt x="437946" y="4027622"/>
                  <a:pt x="477478" y="4026551"/>
                </a:cubicBezTo>
                <a:close/>
                <a:moveTo>
                  <a:pt x="4772788" y="3784478"/>
                </a:moveTo>
                <a:cubicBezTo>
                  <a:pt x="4794132" y="3787795"/>
                  <a:pt x="4814808" y="3799848"/>
                  <a:pt x="4830422" y="3823376"/>
                </a:cubicBezTo>
                <a:cubicBezTo>
                  <a:pt x="4890416" y="3913795"/>
                  <a:pt x="4881363" y="4012409"/>
                  <a:pt x="4873596" y="4051137"/>
                </a:cubicBezTo>
                <a:cubicBezTo>
                  <a:pt x="4772518" y="4025265"/>
                  <a:pt x="4714293" y="3973199"/>
                  <a:pt x="4681242" y="3916420"/>
                </a:cubicBezTo>
                <a:lnTo>
                  <a:pt x="4681296" y="3916420"/>
                </a:lnTo>
                <a:cubicBezTo>
                  <a:pt x="4638712" y="3843182"/>
                  <a:pt x="4708756" y="3774524"/>
                  <a:pt x="4772788" y="3784478"/>
                </a:cubicBezTo>
                <a:close/>
                <a:moveTo>
                  <a:pt x="3818894" y="3784478"/>
                </a:moveTo>
                <a:cubicBezTo>
                  <a:pt x="3840238" y="3787795"/>
                  <a:pt x="3860915" y="3799848"/>
                  <a:pt x="3876529" y="3823376"/>
                </a:cubicBezTo>
                <a:cubicBezTo>
                  <a:pt x="3936522" y="3913795"/>
                  <a:pt x="3927523" y="4012409"/>
                  <a:pt x="3919756" y="4051137"/>
                </a:cubicBezTo>
                <a:cubicBezTo>
                  <a:pt x="3818678" y="4025265"/>
                  <a:pt x="3760452" y="3973199"/>
                  <a:pt x="3727402" y="3916420"/>
                </a:cubicBezTo>
                <a:cubicBezTo>
                  <a:pt x="3684818" y="3843182"/>
                  <a:pt x="3754862" y="3774524"/>
                  <a:pt x="3818894" y="3784478"/>
                </a:cubicBezTo>
                <a:close/>
                <a:moveTo>
                  <a:pt x="2864947" y="3784478"/>
                </a:moveTo>
                <a:cubicBezTo>
                  <a:pt x="2886291" y="3787795"/>
                  <a:pt x="2906968" y="3799848"/>
                  <a:pt x="2922582" y="3823376"/>
                </a:cubicBezTo>
                <a:cubicBezTo>
                  <a:pt x="2982575" y="3913795"/>
                  <a:pt x="2973522" y="4012409"/>
                  <a:pt x="2965754" y="4051137"/>
                </a:cubicBezTo>
                <a:cubicBezTo>
                  <a:pt x="2864676" y="4025265"/>
                  <a:pt x="2806452" y="3973199"/>
                  <a:pt x="2773402" y="3916420"/>
                </a:cubicBezTo>
                <a:lnTo>
                  <a:pt x="2773455" y="3916420"/>
                </a:lnTo>
                <a:cubicBezTo>
                  <a:pt x="2730871" y="3843182"/>
                  <a:pt x="2800914" y="3774524"/>
                  <a:pt x="2864947" y="3784478"/>
                </a:cubicBezTo>
                <a:close/>
                <a:moveTo>
                  <a:pt x="1910999" y="3784478"/>
                </a:moveTo>
                <a:cubicBezTo>
                  <a:pt x="1932343" y="3787795"/>
                  <a:pt x="1953020" y="3799848"/>
                  <a:pt x="1968634" y="3823376"/>
                </a:cubicBezTo>
                <a:cubicBezTo>
                  <a:pt x="2028627" y="3913795"/>
                  <a:pt x="2019574" y="4012409"/>
                  <a:pt x="2011807" y="4051137"/>
                </a:cubicBezTo>
                <a:cubicBezTo>
                  <a:pt x="1910729" y="4025265"/>
                  <a:pt x="1852503" y="3973199"/>
                  <a:pt x="1819454" y="3916420"/>
                </a:cubicBezTo>
                <a:lnTo>
                  <a:pt x="1819508" y="3916420"/>
                </a:lnTo>
                <a:cubicBezTo>
                  <a:pt x="1776923" y="3843182"/>
                  <a:pt x="1846966" y="3774524"/>
                  <a:pt x="1910999" y="3784478"/>
                </a:cubicBezTo>
                <a:close/>
                <a:moveTo>
                  <a:pt x="957158" y="3784478"/>
                </a:moveTo>
                <a:cubicBezTo>
                  <a:pt x="978503" y="3787795"/>
                  <a:pt x="999179" y="3799848"/>
                  <a:pt x="1014793" y="3823376"/>
                </a:cubicBezTo>
                <a:cubicBezTo>
                  <a:pt x="1074733" y="3913795"/>
                  <a:pt x="1065734" y="4012409"/>
                  <a:pt x="1057967" y="4051137"/>
                </a:cubicBezTo>
                <a:cubicBezTo>
                  <a:pt x="956889" y="4025265"/>
                  <a:pt x="898610" y="3973199"/>
                  <a:pt x="865614" y="3916420"/>
                </a:cubicBezTo>
                <a:lnTo>
                  <a:pt x="865667" y="3916420"/>
                </a:lnTo>
                <a:cubicBezTo>
                  <a:pt x="823082" y="3843182"/>
                  <a:pt x="893126" y="3774524"/>
                  <a:pt x="957158" y="3784478"/>
                </a:cubicBezTo>
                <a:close/>
                <a:moveTo>
                  <a:pt x="3104" y="3784478"/>
                </a:moveTo>
                <a:cubicBezTo>
                  <a:pt x="24448" y="3787795"/>
                  <a:pt x="45125" y="3799848"/>
                  <a:pt x="60739" y="3823376"/>
                </a:cubicBezTo>
                <a:cubicBezTo>
                  <a:pt x="120785" y="3913795"/>
                  <a:pt x="111733" y="4012409"/>
                  <a:pt x="103966" y="4051137"/>
                </a:cubicBezTo>
                <a:cubicBezTo>
                  <a:pt x="78697" y="4044669"/>
                  <a:pt x="56106" y="4036564"/>
                  <a:pt x="35916" y="4027157"/>
                </a:cubicBezTo>
                <a:lnTo>
                  <a:pt x="0" y="4005871"/>
                </a:lnTo>
                <a:lnTo>
                  <a:pt x="0" y="3784597"/>
                </a:lnTo>
                <a:close/>
                <a:moveTo>
                  <a:pt x="4925072" y="3728191"/>
                </a:moveTo>
                <a:cubicBezTo>
                  <a:pt x="5026150" y="3754063"/>
                  <a:pt x="5084376" y="3806129"/>
                  <a:pt x="5117426" y="3862908"/>
                </a:cubicBezTo>
                <a:lnTo>
                  <a:pt x="5117373" y="3862908"/>
                </a:lnTo>
                <a:cubicBezTo>
                  <a:pt x="5174152" y="3960557"/>
                  <a:pt x="5030704" y="4050065"/>
                  <a:pt x="4968246" y="3955951"/>
                </a:cubicBezTo>
                <a:cubicBezTo>
                  <a:pt x="4908254" y="3865533"/>
                  <a:pt x="4917306" y="3766919"/>
                  <a:pt x="4925072" y="3728191"/>
                </a:cubicBezTo>
                <a:close/>
                <a:moveTo>
                  <a:pt x="3971072" y="3728191"/>
                </a:moveTo>
                <a:cubicBezTo>
                  <a:pt x="4072150" y="3754063"/>
                  <a:pt x="4130376" y="3806129"/>
                  <a:pt x="4163426" y="3862908"/>
                </a:cubicBezTo>
                <a:lnTo>
                  <a:pt x="4163372" y="3862908"/>
                </a:lnTo>
                <a:cubicBezTo>
                  <a:pt x="4220151" y="3960557"/>
                  <a:pt x="4076703" y="4050065"/>
                  <a:pt x="4014246" y="3955951"/>
                </a:cubicBezTo>
                <a:cubicBezTo>
                  <a:pt x="3954252" y="3865533"/>
                  <a:pt x="3963304" y="3766919"/>
                  <a:pt x="3971072" y="3728191"/>
                </a:cubicBezTo>
                <a:close/>
                <a:moveTo>
                  <a:pt x="3017178" y="3728191"/>
                </a:moveTo>
                <a:cubicBezTo>
                  <a:pt x="3118256" y="3754063"/>
                  <a:pt x="3176482" y="3806129"/>
                  <a:pt x="3209531" y="3862908"/>
                </a:cubicBezTo>
                <a:lnTo>
                  <a:pt x="3209478" y="3862908"/>
                </a:lnTo>
                <a:cubicBezTo>
                  <a:pt x="3266258" y="3960557"/>
                  <a:pt x="3122809" y="4050065"/>
                  <a:pt x="3060352" y="3955951"/>
                </a:cubicBezTo>
                <a:cubicBezTo>
                  <a:pt x="3000358" y="3865533"/>
                  <a:pt x="3009410" y="3766919"/>
                  <a:pt x="3017178" y="3728191"/>
                </a:cubicBezTo>
                <a:close/>
                <a:moveTo>
                  <a:pt x="2063230" y="3728191"/>
                </a:moveTo>
                <a:cubicBezTo>
                  <a:pt x="2164308" y="3754063"/>
                  <a:pt x="2222534" y="3806129"/>
                  <a:pt x="2255584" y="3862908"/>
                </a:cubicBezTo>
                <a:lnTo>
                  <a:pt x="2255531" y="3862908"/>
                </a:lnTo>
                <a:cubicBezTo>
                  <a:pt x="2312310" y="3960557"/>
                  <a:pt x="2168862" y="4050065"/>
                  <a:pt x="2106404" y="3955951"/>
                </a:cubicBezTo>
                <a:cubicBezTo>
                  <a:pt x="2046410" y="3865533"/>
                  <a:pt x="2055463" y="3766919"/>
                  <a:pt x="2063230" y="3728191"/>
                </a:cubicBezTo>
                <a:close/>
                <a:moveTo>
                  <a:pt x="1109283" y="3728191"/>
                </a:moveTo>
                <a:cubicBezTo>
                  <a:pt x="1210361" y="3754063"/>
                  <a:pt x="1268587" y="3806129"/>
                  <a:pt x="1301636" y="3862908"/>
                </a:cubicBezTo>
                <a:cubicBezTo>
                  <a:pt x="1358416" y="3960557"/>
                  <a:pt x="1214968" y="4050065"/>
                  <a:pt x="1152510" y="3955951"/>
                </a:cubicBezTo>
                <a:cubicBezTo>
                  <a:pt x="1092463" y="3865533"/>
                  <a:pt x="1101516" y="3766919"/>
                  <a:pt x="1109283" y="3728191"/>
                </a:cubicBezTo>
                <a:close/>
                <a:moveTo>
                  <a:pt x="155443" y="3728191"/>
                </a:moveTo>
                <a:cubicBezTo>
                  <a:pt x="256521" y="3754063"/>
                  <a:pt x="314746" y="3806129"/>
                  <a:pt x="347796" y="3862908"/>
                </a:cubicBezTo>
                <a:cubicBezTo>
                  <a:pt x="404575" y="3960557"/>
                  <a:pt x="261127" y="4050065"/>
                  <a:pt x="198670" y="3955951"/>
                </a:cubicBezTo>
                <a:cubicBezTo>
                  <a:pt x="138623" y="3865533"/>
                  <a:pt x="147676" y="3766919"/>
                  <a:pt x="155443" y="3728191"/>
                </a:cubicBezTo>
                <a:close/>
                <a:moveTo>
                  <a:pt x="0" y="3535250"/>
                </a:moveTo>
                <a:lnTo>
                  <a:pt x="6075" y="3539620"/>
                </a:lnTo>
                <a:cubicBezTo>
                  <a:pt x="36447" y="3570213"/>
                  <a:pt x="46758" y="3620658"/>
                  <a:pt x="7816" y="3661555"/>
                </a:cubicBezTo>
                <a:lnTo>
                  <a:pt x="0" y="3667823"/>
                </a:lnTo>
                <a:close/>
                <a:moveTo>
                  <a:pt x="4718752" y="3512296"/>
                </a:moveTo>
                <a:cubicBezTo>
                  <a:pt x="4783453" y="3517380"/>
                  <a:pt x="4835860" y="3600209"/>
                  <a:pt x="4777446" y="3661555"/>
                </a:cubicBezTo>
                <a:cubicBezTo>
                  <a:pt x="4702615" y="3740136"/>
                  <a:pt x="4604484" y="3753205"/>
                  <a:pt x="4564952" y="3754277"/>
                </a:cubicBezTo>
                <a:cubicBezTo>
                  <a:pt x="4567738" y="3649985"/>
                  <a:pt x="4605555" y="3581636"/>
                  <a:pt x="4653603" y="3536801"/>
                </a:cubicBezTo>
                <a:cubicBezTo>
                  <a:pt x="4674253" y="3517545"/>
                  <a:pt x="4697185" y="3510601"/>
                  <a:pt x="4718752" y="3512296"/>
                </a:cubicBezTo>
                <a:close/>
                <a:moveTo>
                  <a:pt x="3764751" y="3512296"/>
                </a:moveTo>
                <a:cubicBezTo>
                  <a:pt x="3829452" y="3517380"/>
                  <a:pt x="3881859" y="3600209"/>
                  <a:pt x="3823446" y="3661555"/>
                </a:cubicBezTo>
                <a:cubicBezTo>
                  <a:pt x="3748614" y="3740136"/>
                  <a:pt x="3650482" y="3753205"/>
                  <a:pt x="3610951" y="3754277"/>
                </a:cubicBezTo>
                <a:cubicBezTo>
                  <a:pt x="3613736" y="3649985"/>
                  <a:pt x="3651554" y="3581636"/>
                  <a:pt x="3699602" y="3536801"/>
                </a:cubicBezTo>
                <a:cubicBezTo>
                  <a:pt x="3720251" y="3517545"/>
                  <a:pt x="3743184" y="3510601"/>
                  <a:pt x="3764751" y="3512296"/>
                </a:cubicBezTo>
                <a:close/>
                <a:moveTo>
                  <a:pt x="2810803" y="3512296"/>
                </a:moveTo>
                <a:cubicBezTo>
                  <a:pt x="2875504" y="3517380"/>
                  <a:pt x="2927911" y="3600209"/>
                  <a:pt x="2869498" y="3661555"/>
                </a:cubicBezTo>
                <a:cubicBezTo>
                  <a:pt x="2794666" y="3740136"/>
                  <a:pt x="2696534" y="3753205"/>
                  <a:pt x="2657004" y="3754277"/>
                </a:cubicBezTo>
                <a:cubicBezTo>
                  <a:pt x="2659789" y="3649985"/>
                  <a:pt x="2697606" y="3581636"/>
                  <a:pt x="2745654" y="3536801"/>
                </a:cubicBezTo>
                <a:cubicBezTo>
                  <a:pt x="2766304" y="3517545"/>
                  <a:pt x="2789236" y="3510601"/>
                  <a:pt x="2810803" y="3512296"/>
                </a:cubicBezTo>
                <a:close/>
                <a:moveTo>
                  <a:pt x="1856963" y="3512296"/>
                </a:moveTo>
                <a:cubicBezTo>
                  <a:pt x="1921663" y="3517380"/>
                  <a:pt x="1974070" y="3600209"/>
                  <a:pt x="1915658" y="3661555"/>
                </a:cubicBezTo>
                <a:cubicBezTo>
                  <a:pt x="1840826" y="3740136"/>
                  <a:pt x="1742694" y="3753205"/>
                  <a:pt x="1703163" y="3754277"/>
                </a:cubicBezTo>
                <a:cubicBezTo>
                  <a:pt x="1705948" y="3649985"/>
                  <a:pt x="1743766" y="3581636"/>
                  <a:pt x="1791814" y="3536801"/>
                </a:cubicBezTo>
                <a:cubicBezTo>
                  <a:pt x="1812464" y="3517545"/>
                  <a:pt x="1835396" y="3510601"/>
                  <a:pt x="1856963" y="3512296"/>
                </a:cubicBezTo>
                <a:close/>
                <a:moveTo>
                  <a:pt x="902963" y="3512296"/>
                </a:moveTo>
                <a:cubicBezTo>
                  <a:pt x="967663" y="3517380"/>
                  <a:pt x="1020070" y="3600209"/>
                  <a:pt x="961657" y="3661555"/>
                </a:cubicBezTo>
                <a:cubicBezTo>
                  <a:pt x="886826" y="3740136"/>
                  <a:pt x="788693" y="3753205"/>
                  <a:pt x="749162" y="3754277"/>
                </a:cubicBezTo>
                <a:cubicBezTo>
                  <a:pt x="751948" y="3649985"/>
                  <a:pt x="789765" y="3581636"/>
                  <a:pt x="837814" y="3536801"/>
                </a:cubicBezTo>
                <a:cubicBezTo>
                  <a:pt x="858463" y="3517545"/>
                  <a:pt x="881396" y="3510601"/>
                  <a:pt x="902963" y="3512296"/>
                </a:cubicBezTo>
                <a:close/>
                <a:moveTo>
                  <a:pt x="5093947" y="3512054"/>
                </a:moveTo>
                <a:cubicBezTo>
                  <a:pt x="5115494" y="3510547"/>
                  <a:pt x="5138330" y="3517705"/>
                  <a:pt x="5158778" y="3537176"/>
                </a:cubicBezTo>
                <a:cubicBezTo>
                  <a:pt x="5198069" y="3574591"/>
                  <a:pt x="5220982" y="3617832"/>
                  <a:pt x="5234206" y="3656661"/>
                </a:cubicBezTo>
                <a:lnTo>
                  <a:pt x="5242560" y="3690098"/>
                </a:lnTo>
                <a:lnTo>
                  <a:pt x="5242560" y="3748639"/>
                </a:lnTo>
                <a:lnTo>
                  <a:pt x="5179826" y="3741400"/>
                </a:lnTo>
                <a:cubicBezTo>
                  <a:pt x="5114504" y="3727337"/>
                  <a:pt x="5067651" y="3697056"/>
                  <a:pt x="5034025" y="3661019"/>
                </a:cubicBezTo>
                <a:cubicBezTo>
                  <a:pt x="4976255" y="3599071"/>
                  <a:pt x="5029304" y="3516574"/>
                  <a:pt x="5093947" y="3512054"/>
                </a:cubicBezTo>
                <a:close/>
                <a:moveTo>
                  <a:pt x="4140053" y="3512054"/>
                </a:moveTo>
                <a:cubicBezTo>
                  <a:pt x="4161601" y="3510547"/>
                  <a:pt x="4184436" y="3517705"/>
                  <a:pt x="4204885" y="3537176"/>
                </a:cubicBezTo>
                <a:cubicBezTo>
                  <a:pt x="4283466" y="3612007"/>
                  <a:pt x="4296589" y="3710140"/>
                  <a:pt x="4297606" y="3749670"/>
                </a:cubicBezTo>
                <a:cubicBezTo>
                  <a:pt x="4193314" y="3746885"/>
                  <a:pt x="4124966" y="3709068"/>
                  <a:pt x="4080132" y="3661019"/>
                </a:cubicBezTo>
                <a:cubicBezTo>
                  <a:pt x="4022361" y="3599071"/>
                  <a:pt x="4075411" y="3516574"/>
                  <a:pt x="4140053" y="3512054"/>
                </a:cubicBezTo>
                <a:close/>
                <a:moveTo>
                  <a:pt x="3186052" y="3512054"/>
                </a:moveTo>
                <a:cubicBezTo>
                  <a:pt x="3207600" y="3510547"/>
                  <a:pt x="3230435" y="3517705"/>
                  <a:pt x="3250884" y="3537176"/>
                </a:cubicBezTo>
                <a:cubicBezTo>
                  <a:pt x="3329465" y="3612007"/>
                  <a:pt x="3342534" y="3710140"/>
                  <a:pt x="3343606" y="3749670"/>
                </a:cubicBezTo>
                <a:cubicBezTo>
                  <a:pt x="3239314" y="3746885"/>
                  <a:pt x="3170964" y="3709068"/>
                  <a:pt x="3126129" y="3661019"/>
                </a:cubicBezTo>
                <a:cubicBezTo>
                  <a:pt x="3068359" y="3599071"/>
                  <a:pt x="3121409" y="3516574"/>
                  <a:pt x="3186052" y="3512054"/>
                </a:cubicBezTo>
                <a:close/>
                <a:moveTo>
                  <a:pt x="2232105" y="3512054"/>
                </a:moveTo>
                <a:cubicBezTo>
                  <a:pt x="2253652" y="3510547"/>
                  <a:pt x="2276488" y="3517705"/>
                  <a:pt x="2296936" y="3537176"/>
                </a:cubicBezTo>
                <a:cubicBezTo>
                  <a:pt x="2375517" y="3612007"/>
                  <a:pt x="2388587" y="3710140"/>
                  <a:pt x="2389658" y="3749670"/>
                </a:cubicBezTo>
                <a:cubicBezTo>
                  <a:pt x="2285366" y="3746885"/>
                  <a:pt x="2217017" y="3709068"/>
                  <a:pt x="2172183" y="3661019"/>
                </a:cubicBezTo>
                <a:cubicBezTo>
                  <a:pt x="2114413" y="3599071"/>
                  <a:pt x="2167462" y="3516574"/>
                  <a:pt x="2232105" y="3512054"/>
                </a:cubicBezTo>
                <a:close/>
                <a:moveTo>
                  <a:pt x="1278264" y="3512054"/>
                </a:moveTo>
                <a:cubicBezTo>
                  <a:pt x="1299812" y="3510547"/>
                  <a:pt x="1322648" y="3517705"/>
                  <a:pt x="1343096" y="3537176"/>
                </a:cubicBezTo>
                <a:cubicBezTo>
                  <a:pt x="1421676" y="3612007"/>
                  <a:pt x="1434747" y="3710140"/>
                  <a:pt x="1435818" y="3749670"/>
                </a:cubicBezTo>
                <a:cubicBezTo>
                  <a:pt x="1331526" y="3746885"/>
                  <a:pt x="1263176" y="3709068"/>
                  <a:pt x="1218342" y="3661019"/>
                </a:cubicBezTo>
                <a:cubicBezTo>
                  <a:pt x="1160572" y="3599071"/>
                  <a:pt x="1213622" y="3516574"/>
                  <a:pt x="1278264" y="3512054"/>
                </a:cubicBezTo>
                <a:close/>
                <a:moveTo>
                  <a:pt x="324317" y="3512054"/>
                </a:moveTo>
                <a:cubicBezTo>
                  <a:pt x="345865" y="3510547"/>
                  <a:pt x="368701" y="3517705"/>
                  <a:pt x="389149" y="3537176"/>
                </a:cubicBezTo>
                <a:cubicBezTo>
                  <a:pt x="467729" y="3612007"/>
                  <a:pt x="480853" y="3710140"/>
                  <a:pt x="481871" y="3749670"/>
                </a:cubicBezTo>
                <a:cubicBezTo>
                  <a:pt x="377632" y="3746885"/>
                  <a:pt x="309283" y="3709068"/>
                  <a:pt x="264448" y="3661019"/>
                </a:cubicBezTo>
                <a:lnTo>
                  <a:pt x="264395" y="3661019"/>
                </a:lnTo>
                <a:cubicBezTo>
                  <a:pt x="206625" y="3599071"/>
                  <a:pt x="259674" y="3516574"/>
                  <a:pt x="324317" y="3512054"/>
                </a:cubicBezTo>
                <a:close/>
                <a:moveTo>
                  <a:pt x="4560054" y="3429746"/>
                </a:moveTo>
                <a:cubicBezTo>
                  <a:pt x="4576161" y="3430745"/>
                  <a:pt x="4589592" y="3432763"/>
                  <a:pt x="4599288" y="3434705"/>
                </a:cubicBezTo>
                <a:cubicBezTo>
                  <a:pt x="4573470" y="3535784"/>
                  <a:pt x="4521350" y="3594009"/>
                  <a:pt x="4464570" y="3627059"/>
                </a:cubicBezTo>
                <a:cubicBezTo>
                  <a:pt x="4366921" y="3683838"/>
                  <a:pt x="4277412" y="3540390"/>
                  <a:pt x="4371527" y="3477933"/>
                </a:cubicBezTo>
                <a:cubicBezTo>
                  <a:pt x="4439341" y="3432938"/>
                  <a:pt x="4511735" y="3426751"/>
                  <a:pt x="4560054" y="3429746"/>
                </a:cubicBezTo>
                <a:close/>
                <a:moveTo>
                  <a:pt x="3606075" y="3429746"/>
                </a:moveTo>
                <a:cubicBezTo>
                  <a:pt x="3622179" y="3430745"/>
                  <a:pt x="3635604" y="3432763"/>
                  <a:pt x="3645286" y="3434705"/>
                </a:cubicBezTo>
                <a:cubicBezTo>
                  <a:pt x="3619414" y="3535784"/>
                  <a:pt x="3567348" y="3594009"/>
                  <a:pt x="3510570" y="3627059"/>
                </a:cubicBezTo>
                <a:cubicBezTo>
                  <a:pt x="3412920" y="3683838"/>
                  <a:pt x="3323412" y="3540390"/>
                  <a:pt x="3417526" y="3477933"/>
                </a:cubicBezTo>
                <a:cubicBezTo>
                  <a:pt x="3485339" y="3432938"/>
                  <a:pt x="3557763" y="3426751"/>
                  <a:pt x="3606075" y="3429746"/>
                </a:cubicBezTo>
                <a:close/>
                <a:moveTo>
                  <a:pt x="2652128" y="3429746"/>
                </a:moveTo>
                <a:cubicBezTo>
                  <a:pt x="2668232" y="3430745"/>
                  <a:pt x="2681657" y="3432763"/>
                  <a:pt x="2691339" y="3434705"/>
                </a:cubicBezTo>
                <a:cubicBezTo>
                  <a:pt x="2665467" y="3535784"/>
                  <a:pt x="2613401" y="3594009"/>
                  <a:pt x="2556622" y="3627059"/>
                </a:cubicBezTo>
                <a:cubicBezTo>
                  <a:pt x="2458972" y="3683838"/>
                  <a:pt x="2369464" y="3540390"/>
                  <a:pt x="2463578" y="3477933"/>
                </a:cubicBezTo>
                <a:cubicBezTo>
                  <a:pt x="2531392" y="3432938"/>
                  <a:pt x="2603816" y="3426751"/>
                  <a:pt x="2652128" y="3429746"/>
                </a:cubicBezTo>
                <a:close/>
                <a:moveTo>
                  <a:pt x="1698288" y="3429746"/>
                </a:moveTo>
                <a:cubicBezTo>
                  <a:pt x="1714392" y="3430745"/>
                  <a:pt x="1727817" y="3432763"/>
                  <a:pt x="1737499" y="3434705"/>
                </a:cubicBezTo>
                <a:cubicBezTo>
                  <a:pt x="1711626" y="3535784"/>
                  <a:pt x="1659561" y="3594009"/>
                  <a:pt x="1602782" y="3627059"/>
                </a:cubicBezTo>
                <a:cubicBezTo>
                  <a:pt x="1505131" y="3683838"/>
                  <a:pt x="1415624" y="3540390"/>
                  <a:pt x="1509738" y="3477933"/>
                </a:cubicBezTo>
                <a:cubicBezTo>
                  <a:pt x="1577552" y="3432938"/>
                  <a:pt x="1649976" y="3426751"/>
                  <a:pt x="1698288" y="3429746"/>
                </a:cubicBezTo>
                <a:close/>
                <a:moveTo>
                  <a:pt x="744394" y="3429746"/>
                </a:moveTo>
                <a:cubicBezTo>
                  <a:pt x="760498" y="3430745"/>
                  <a:pt x="773923" y="3432763"/>
                  <a:pt x="783605" y="3434705"/>
                </a:cubicBezTo>
                <a:cubicBezTo>
                  <a:pt x="757786" y="3535784"/>
                  <a:pt x="705667" y="3594009"/>
                  <a:pt x="648888" y="3627059"/>
                </a:cubicBezTo>
                <a:cubicBezTo>
                  <a:pt x="551238" y="3683838"/>
                  <a:pt x="461730" y="3540390"/>
                  <a:pt x="555845" y="3477933"/>
                </a:cubicBezTo>
                <a:cubicBezTo>
                  <a:pt x="623659" y="3432938"/>
                  <a:pt x="696083" y="3426751"/>
                  <a:pt x="744394" y="3429746"/>
                </a:cubicBezTo>
                <a:close/>
                <a:moveTo>
                  <a:pt x="5019996" y="3218701"/>
                </a:moveTo>
                <a:cubicBezTo>
                  <a:pt x="5101260" y="3208974"/>
                  <a:pt x="5159495" y="3325633"/>
                  <a:pt x="5077146" y="3380283"/>
                </a:cubicBezTo>
                <a:cubicBezTo>
                  <a:pt x="4986727" y="3440330"/>
                  <a:pt x="4888113" y="3431277"/>
                  <a:pt x="4849385" y="3423510"/>
                </a:cubicBezTo>
                <a:cubicBezTo>
                  <a:pt x="4875257" y="3322432"/>
                  <a:pt x="4927322" y="3264206"/>
                  <a:pt x="4984102" y="3231157"/>
                </a:cubicBezTo>
                <a:cubicBezTo>
                  <a:pt x="4996308" y="3224060"/>
                  <a:pt x="5008387" y="3220091"/>
                  <a:pt x="5019996" y="3218701"/>
                </a:cubicBezTo>
                <a:close/>
                <a:moveTo>
                  <a:pt x="4066156" y="3218648"/>
                </a:moveTo>
                <a:cubicBezTo>
                  <a:pt x="4147420" y="3208921"/>
                  <a:pt x="4205655" y="3325580"/>
                  <a:pt x="4123304" y="3380230"/>
                </a:cubicBezTo>
                <a:cubicBezTo>
                  <a:pt x="4032886" y="3440277"/>
                  <a:pt x="3934272" y="3431224"/>
                  <a:pt x="3895544" y="3423456"/>
                </a:cubicBezTo>
                <a:cubicBezTo>
                  <a:pt x="3921416" y="3322378"/>
                  <a:pt x="3973482" y="3264152"/>
                  <a:pt x="4030261" y="3231103"/>
                </a:cubicBezTo>
                <a:cubicBezTo>
                  <a:pt x="4042467" y="3224006"/>
                  <a:pt x="4054546" y="3220037"/>
                  <a:pt x="4066156" y="3218648"/>
                </a:cubicBezTo>
                <a:close/>
                <a:moveTo>
                  <a:pt x="3112208" y="3218594"/>
                </a:moveTo>
                <a:cubicBezTo>
                  <a:pt x="3193472" y="3208867"/>
                  <a:pt x="3251708" y="3325526"/>
                  <a:pt x="3169357" y="3380176"/>
                </a:cubicBezTo>
                <a:cubicBezTo>
                  <a:pt x="3078938" y="3440223"/>
                  <a:pt x="2980324" y="3431170"/>
                  <a:pt x="2941596" y="3423403"/>
                </a:cubicBezTo>
                <a:cubicBezTo>
                  <a:pt x="2967469" y="3322325"/>
                  <a:pt x="3019534" y="3264099"/>
                  <a:pt x="3076314" y="3231050"/>
                </a:cubicBezTo>
                <a:cubicBezTo>
                  <a:pt x="3088520" y="3223952"/>
                  <a:pt x="3100599" y="3219983"/>
                  <a:pt x="3112208" y="3218594"/>
                </a:cubicBezTo>
                <a:close/>
                <a:moveTo>
                  <a:pt x="2158368" y="3218540"/>
                </a:moveTo>
                <a:cubicBezTo>
                  <a:pt x="2239631" y="3208813"/>
                  <a:pt x="2297868" y="3325472"/>
                  <a:pt x="2215517" y="3380122"/>
                </a:cubicBezTo>
                <a:cubicBezTo>
                  <a:pt x="2125098" y="3440169"/>
                  <a:pt x="2026484" y="3431116"/>
                  <a:pt x="1987756" y="3423349"/>
                </a:cubicBezTo>
                <a:cubicBezTo>
                  <a:pt x="2013574" y="3322271"/>
                  <a:pt x="2065694" y="3264046"/>
                  <a:pt x="2122474" y="3230996"/>
                </a:cubicBezTo>
                <a:cubicBezTo>
                  <a:pt x="2134680" y="3223899"/>
                  <a:pt x="2146759" y="3219930"/>
                  <a:pt x="2158368" y="3218540"/>
                </a:cubicBezTo>
                <a:close/>
                <a:moveTo>
                  <a:pt x="1204421" y="3218487"/>
                </a:moveTo>
                <a:cubicBezTo>
                  <a:pt x="1285685" y="3208760"/>
                  <a:pt x="1343920" y="3325419"/>
                  <a:pt x="1261570" y="3380069"/>
                </a:cubicBezTo>
                <a:cubicBezTo>
                  <a:pt x="1171151" y="3440116"/>
                  <a:pt x="1072537" y="3431063"/>
                  <a:pt x="1033809" y="3423297"/>
                </a:cubicBezTo>
                <a:cubicBezTo>
                  <a:pt x="1059681" y="3322218"/>
                  <a:pt x="1111747" y="3263993"/>
                  <a:pt x="1168526" y="3230942"/>
                </a:cubicBezTo>
                <a:cubicBezTo>
                  <a:pt x="1180733" y="3223845"/>
                  <a:pt x="1192812" y="3219876"/>
                  <a:pt x="1204421" y="3218487"/>
                </a:cubicBezTo>
                <a:close/>
                <a:moveTo>
                  <a:pt x="250420" y="3218433"/>
                </a:moveTo>
                <a:cubicBezTo>
                  <a:pt x="331684" y="3208706"/>
                  <a:pt x="389919" y="3325365"/>
                  <a:pt x="307569" y="3380015"/>
                </a:cubicBezTo>
                <a:cubicBezTo>
                  <a:pt x="217150" y="3440062"/>
                  <a:pt x="118536" y="3431009"/>
                  <a:pt x="79808" y="3423243"/>
                </a:cubicBezTo>
                <a:cubicBezTo>
                  <a:pt x="105680" y="3322165"/>
                  <a:pt x="157746" y="3263939"/>
                  <a:pt x="214525" y="3230889"/>
                </a:cubicBezTo>
                <a:cubicBezTo>
                  <a:pt x="226732" y="3223791"/>
                  <a:pt x="238811" y="3219823"/>
                  <a:pt x="250420" y="3218433"/>
                </a:cubicBezTo>
                <a:close/>
                <a:moveTo>
                  <a:pt x="5137727" y="3105278"/>
                </a:moveTo>
                <a:cubicBezTo>
                  <a:pt x="5163787" y="3105974"/>
                  <a:pt x="5187603" y="3108860"/>
                  <a:pt x="5209370" y="3113548"/>
                </a:cubicBezTo>
                <a:lnTo>
                  <a:pt x="5242560" y="3124220"/>
                </a:lnTo>
                <a:lnTo>
                  <a:pt x="5242560" y="3325502"/>
                </a:lnTo>
                <a:lnTo>
                  <a:pt x="5230450" y="3317773"/>
                </a:lnTo>
                <a:cubicBezTo>
                  <a:pt x="5151869" y="3242941"/>
                  <a:pt x="5138746" y="3144809"/>
                  <a:pt x="5137727" y="3105278"/>
                </a:cubicBezTo>
                <a:close/>
                <a:moveTo>
                  <a:pt x="4183834" y="3105224"/>
                </a:moveTo>
                <a:cubicBezTo>
                  <a:pt x="4288126" y="3108009"/>
                  <a:pt x="4356475" y="3145827"/>
                  <a:pt x="4401310" y="3193875"/>
                </a:cubicBezTo>
                <a:cubicBezTo>
                  <a:pt x="4478336" y="3276473"/>
                  <a:pt x="4358350" y="3395602"/>
                  <a:pt x="4276556" y="3317719"/>
                </a:cubicBezTo>
                <a:cubicBezTo>
                  <a:pt x="4197975" y="3242887"/>
                  <a:pt x="4184906" y="3144756"/>
                  <a:pt x="4183834" y="3105224"/>
                </a:cubicBezTo>
                <a:close/>
                <a:moveTo>
                  <a:pt x="3229940" y="3105171"/>
                </a:moveTo>
                <a:cubicBezTo>
                  <a:pt x="3334178" y="3107957"/>
                  <a:pt x="3402528" y="3145773"/>
                  <a:pt x="3447362" y="3193822"/>
                </a:cubicBezTo>
                <a:lnTo>
                  <a:pt x="3447416" y="3193822"/>
                </a:lnTo>
                <a:cubicBezTo>
                  <a:pt x="3524442" y="3276419"/>
                  <a:pt x="3404456" y="3395549"/>
                  <a:pt x="3322661" y="3317665"/>
                </a:cubicBezTo>
                <a:cubicBezTo>
                  <a:pt x="3244081" y="3242834"/>
                  <a:pt x="3231012" y="3144703"/>
                  <a:pt x="3229940" y="3105171"/>
                </a:cubicBezTo>
                <a:close/>
                <a:moveTo>
                  <a:pt x="2275992" y="3105117"/>
                </a:moveTo>
                <a:cubicBezTo>
                  <a:pt x="2380284" y="3107903"/>
                  <a:pt x="2448634" y="3145720"/>
                  <a:pt x="2493468" y="3193768"/>
                </a:cubicBezTo>
                <a:cubicBezTo>
                  <a:pt x="2570495" y="3276366"/>
                  <a:pt x="2450509" y="3395496"/>
                  <a:pt x="2368715" y="3317611"/>
                </a:cubicBezTo>
                <a:cubicBezTo>
                  <a:pt x="2290134" y="3242780"/>
                  <a:pt x="2277063" y="3144649"/>
                  <a:pt x="2275992" y="3105117"/>
                </a:cubicBezTo>
                <a:close/>
                <a:moveTo>
                  <a:pt x="1322099" y="3105063"/>
                </a:moveTo>
                <a:cubicBezTo>
                  <a:pt x="1426390" y="3107849"/>
                  <a:pt x="1494740" y="3145666"/>
                  <a:pt x="1539574" y="3193715"/>
                </a:cubicBezTo>
                <a:cubicBezTo>
                  <a:pt x="1616602" y="3276312"/>
                  <a:pt x="1496615" y="3395442"/>
                  <a:pt x="1414820" y="3317558"/>
                </a:cubicBezTo>
                <a:cubicBezTo>
                  <a:pt x="1336240" y="3242726"/>
                  <a:pt x="1323169" y="3144595"/>
                  <a:pt x="1322099" y="3105063"/>
                </a:cubicBezTo>
                <a:close/>
                <a:moveTo>
                  <a:pt x="368097" y="3105010"/>
                </a:moveTo>
                <a:cubicBezTo>
                  <a:pt x="472390" y="3107795"/>
                  <a:pt x="540739" y="3145612"/>
                  <a:pt x="585574" y="3193661"/>
                </a:cubicBezTo>
                <a:cubicBezTo>
                  <a:pt x="662601" y="3276258"/>
                  <a:pt x="542614" y="3395389"/>
                  <a:pt x="460819" y="3317504"/>
                </a:cubicBezTo>
                <a:cubicBezTo>
                  <a:pt x="382239" y="3242673"/>
                  <a:pt x="369168" y="3144541"/>
                  <a:pt x="368097" y="3105010"/>
                </a:cubicBezTo>
                <a:close/>
                <a:moveTo>
                  <a:pt x="4870382" y="3100671"/>
                </a:moveTo>
                <a:cubicBezTo>
                  <a:pt x="4867597" y="3204963"/>
                  <a:pt x="4829780" y="3273313"/>
                  <a:pt x="4781732" y="3318147"/>
                </a:cubicBezTo>
                <a:cubicBezTo>
                  <a:pt x="4699134" y="3395174"/>
                  <a:pt x="4580004" y="3275187"/>
                  <a:pt x="4657888" y="3193392"/>
                </a:cubicBezTo>
                <a:cubicBezTo>
                  <a:pt x="4732720" y="3114813"/>
                  <a:pt x="4830852" y="3101689"/>
                  <a:pt x="4870382" y="3100671"/>
                </a:cubicBezTo>
                <a:close/>
                <a:moveTo>
                  <a:pt x="3916488" y="3100617"/>
                </a:moveTo>
                <a:cubicBezTo>
                  <a:pt x="3913703" y="3204909"/>
                  <a:pt x="3875886" y="3273259"/>
                  <a:pt x="3827838" y="3318094"/>
                </a:cubicBezTo>
                <a:cubicBezTo>
                  <a:pt x="3745240" y="3395120"/>
                  <a:pt x="3626110" y="3275134"/>
                  <a:pt x="3703994" y="3193339"/>
                </a:cubicBezTo>
                <a:cubicBezTo>
                  <a:pt x="3778826" y="3114759"/>
                  <a:pt x="3876957" y="3101636"/>
                  <a:pt x="3916488" y="3100617"/>
                </a:cubicBezTo>
                <a:close/>
                <a:moveTo>
                  <a:pt x="2962648" y="3100565"/>
                </a:moveTo>
                <a:cubicBezTo>
                  <a:pt x="2959863" y="3204856"/>
                  <a:pt x="2922046" y="3273206"/>
                  <a:pt x="2873998" y="3318040"/>
                </a:cubicBezTo>
                <a:cubicBezTo>
                  <a:pt x="2791399" y="3395067"/>
                  <a:pt x="2672270" y="3275080"/>
                  <a:pt x="2750154" y="3193286"/>
                </a:cubicBezTo>
                <a:cubicBezTo>
                  <a:pt x="2824984" y="3114705"/>
                  <a:pt x="2923117" y="3101582"/>
                  <a:pt x="2962648" y="3100565"/>
                </a:cubicBezTo>
                <a:close/>
                <a:moveTo>
                  <a:pt x="2008647" y="3100511"/>
                </a:moveTo>
                <a:cubicBezTo>
                  <a:pt x="2005862" y="3204802"/>
                  <a:pt x="1968044" y="3273152"/>
                  <a:pt x="1919996" y="3317986"/>
                </a:cubicBezTo>
                <a:cubicBezTo>
                  <a:pt x="1837399" y="3395013"/>
                  <a:pt x="1718269" y="3275026"/>
                  <a:pt x="1796153" y="3193233"/>
                </a:cubicBezTo>
                <a:cubicBezTo>
                  <a:pt x="1870984" y="3114652"/>
                  <a:pt x="1969116" y="3101528"/>
                  <a:pt x="2008647" y="3100511"/>
                </a:cubicBezTo>
                <a:close/>
                <a:moveTo>
                  <a:pt x="1054753" y="3100457"/>
                </a:moveTo>
                <a:cubicBezTo>
                  <a:pt x="1051968" y="3204749"/>
                  <a:pt x="1014150" y="3273098"/>
                  <a:pt x="966102" y="3317932"/>
                </a:cubicBezTo>
                <a:cubicBezTo>
                  <a:pt x="883504" y="3394959"/>
                  <a:pt x="764375" y="3274973"/>
                  <a:pt x="842259" y="3193179"/>
                </a:cubicBezTo>
                <a:cubicBezTo>
                  <a:pt x="917090" y="3114598"/>
                  <a:pt x="1015222" y="3101475"/>
                  <a:pt x="1054753" y="3100457"/>
                </a:cubicBezTo>
                <a:close/>
                <a:moveTo>
                  <a:pt x="100806" y="3100404"/>
                </a:moveTo>
                <a:cubicBezTo>
                  <a:pt x="98020" y="3204695"/>
                  <a:pt x="60203" y="3273044"/>
                  <a:pt x="12155" y="3317879"/>
                </a:cubicBezTo>
                <a:lnTo>
                  <a:pt x="0" y="3325462"/>
                </a:lnTo>
                <a:lnTo>
                  <a:pt x="0" y="3121294"/>
                </a:lnTo>
                <a:lnTo>
                  <a:pt x="7796" y="3117678"/>
                </a:lnTo>
                <a:cubicBezTo>
                  <a:pt x="46625" y="3104448"/>
                  <a:pt x="81040" y="3100912"/>
                  <a:pt x="100806" y="3100404"/>
                </a:cubicBezTo>
                <a:close/>
                <a:moveTo>
                  <a:pt x="4396169" y="2858545"/>
                </a:moveTo>
                <a:cubicBezTo>
                  <a:pt x="4417513" y="2861863"/>
                  <a:pt x="4438190" y="2873915"/>
                  <a:pt x="4453804" y="2897444"/>
                </a:cubicBezTo>
                <a:cubicBezTo>
                  <a:pt x="4513797" y="2987862"/>
                  <a:pt x="4504744" y="3086477"/>
                  <a:pt x="4496978" y="3125204"/>
                </a:cubicBezTo>
                <a:cubicBezTo>
                  <a:pt x="4395900" y="3099332"/>
                  <a:pt x="4337674" y="3047267"/>
                  <a:pt x="4304624" y="2990486"/>
                </a:cubicBezTo>
                <a:lnTo>
                  <a:pt x="4304678" y="2990486"/>
                </a:lnTo>
                <a:cubicBezTo>
                  <a:pt x="4262093" y="2917249"/>
                  <a:pt x="4332136" y="2848592"/>
                  <a:pt x="4396169" y="2858545"/>
                </a:cubicBezTo>
                <a:close/>
                <a:moveTo>
                  <a:pt x="3442221" y="2858492"/>
                </a:moveTo>
                <a:cubicBezTo>
                  <a:pt x="3463565" y="2861809"/>
                  <a:pt x="3484242" y="2873862"/>
                  <a:pt x="3499856" y="2897390"/>
                </a:cubicBezTo>
                <a:cubicBezTo>
                  <a:pt x="3559850" y="2987809"/>
                  <a:pt x="3550798" y="3086423"/>
                  <a:pt x="3543030" y="3125150"/>
                </a:cubicBezTo>
                <a:cubicBezTo>
                  <a:pt x="3441952" y="3099278"/>
                  <a:pt x="3383726" y="3047213"/>
                  <a:pt x="3350676" y="2990434"/>
                </a:cubicBezTo>
                <a:lnTo>
                  <a:pt x="3350730" y="2990434"/>
                </a:lnTo>
                <a:cubicBezTo>
                  <a:pt x="3308145" y="2917196"/>
                  <a:pt x="3378189" y="2848538"/>
                  <a:pt x="3442221" y="2858492"/>
                </a:cubicBezTo>
                <a:close/>
                <a:moveTo>
                  <a:pt x="2488381" y="2858438"/>
                </a:moveTo>
                <a:cubicBezTo>
                  <a:pt x="2509725" y="2861756"/>
                  <a:pt x="2530402" y="2873808"/>
                  <a:pt x="2546016" y="2897337"/>
                </a:cubicBezTo>
                <a:cubicBezTo>
                  <a:pt x="2606063" y="2987755"/>
                  <a:pt x="2597010" y="3086369"/>
                  <a:pt x="2589243" y="3125097"/>
                </a:cubicBezTo>
                <a:cubicBezTo>
                  <a:pt x="2488165" y="3099225"/>
                  <a:pt x="2429940" y="3047159"/>
                  <a:pt x="2396890" y="2990380"/>
                </a:cubicBezTo>
                <a:cubicBezTo>
                  <a:pt x="2354305" y="2917142"/>
                  <a:pt x="2424348" y="2848485"/>
                  <a:pt x="2488381" y="2858438"/>
                </a:cubicBezTo>
                <a:close/>
                <a:moveTo>
                  <a:pt x="1534434" y="2858384"/>
                </a:moveTo>
                <a:cubicBezTo>
                  <a:pt x="1555779" y="2861702"/>
                  <a:pt x="1576455" y="2873754"/>
                  <a:pt x="1592069" y="2897283"/>
                </a:cubicBezTo>
                <a:cubicBezTo>
                  <a:pt x="1652062" y="2987702"/>
                  <a:pt x="1643009" y="3086316"/>
                  <a:pt x="1635242" y="3125043"/>
                </a:cubicBezTo>
                <a:cubicBezTo>
                  <a:pt x="1534164" y="3099172"/>
                  <a:pt x="1475938" y="3047106"/>
                  <a:pt x="1442889" y="2990326"/>
                </a:cubicBezTo>
                <a:lnTo>
                  <a:pt x="1442942" y="2990326"/>
                </a:lnTo>
                <a:cubicBezTo>
                  <a:pt x="1400358" y="2917089"/>
                  <a:pt x="1470402" y="2848431"/>
                  <a:pt x="1534434" y="2858384"/>
                </a:cubicBezTo>
                <a:close/>
                <a:moveTo>
                  <a:pt x="580433" y="2858331"/>
                </a:moveTo>
                <a:cubicBezTo>
                  <a:pt x="601777" y="2861648"/>
                  <a:pt x="622454" y="2873701"/>
                  <a:pt x="638068" y="2897229"/>
                </a:cubicBezTo>
                <a:cubicBezTo>
                  <a:pt x="698115" y="2987648"/>
                  <a:pt x="689062" y="3086262"/>
                  <a:pt x="681295" y="3124990"/>
                </a:cubicBezTo>
                <a:cubicBezTo>
                  <a:pt x="580217" y="3099118"/>
                  <a:pt x="521991" y="3047052"/>
                  <a:pt x="488941" y="2990273"/>
                </a:cubicBezTo>
                <a:cubicBezTo>
                  <a:pt x="446357" y="2917036"/>
                  <a:pt x="516401" y="2848378"/>
                  <a:pt x="580433" y="2858331"/>
                </a:cubicBezTo>
                <a:close/>
                <a:moveTo>
                  <a:pt x="4548294" y="2802311"/>
                </a:moveTo>
                <a:cubicBezTo>
                  <a:pt x="4649372" y="2828183"/>
                  <a:pt x="4707598" y="2880249"/>
                  <a:pt x="4740646" y="2937028"/>
                </a:cubicBezTo>
                <a:cubicBezTo>
                  <a:pt x="4797426" y="3034679"/>
                  <a:pt x="4653978" y="3124186"/>
                  <a:pt x="4591520" y="3030072"/>
                </a:cubicBezTo>
                <a:cubicBezTo>
                  <a:pt x="4531527" y="2939653"/>
                  <a:pt x="4540526" y="2841039"/>
                  <a:pt x="4548294" y="2802311"/>
                </a:cubicBezTo>
                <a:close/>
                <a:moveTo>
                  <a:pt x="3594452" y="2802258"/>
                </a:moveTo>
                <a:cubicBezTo>
                  <a:pt x="3695530" y="2828129"/>
                  <a:pt x="3753756" y="2880195"/>
                  <a:pt x="3786806" y="2936975"/>
                </a:cubicBezTo>
                <a:cubicBezTo>
                  <a:pt x="3843586" y="3034625"/>
                  <a:pt x="3700138" y="3124133"/>
                  <a:pt x="3637680" y="3030018"/>
                </a:cubicBezTo>
                <a:cubicBezTo>
                  <a:pt x="3577687" y="2939600"/>
                  <a:pt x="3586686" y="2840985"/>
                  <a:pt x="3594452" y="2802258"/>
                </a:cubicBezTo>
                <a:close/>
                <a:moveTo>
                  <a:pt x="2640559" y="2802205"/>
                </a:moveTo>
                <a:cubicBezTo>
                  <a:pt x="2741583" y="2828077"/>
                  <a:pt x="2799863" y="2880142"/>
                  <a:pt x="2832859" y="2936921"/>
                </a:cubicBezTo>
                <a:cubicBezTo>
                  <a:pt x="2889638" y="3034572"/>
                  <a:pt x="2746190" y="3124079"/>
                  <a:pt x="2683733" y="3029965"/>
                </a:cubicBezTo>
                <a:cubicBezTo>
                  <a:pt x="2623740" y="2939546"/>
                  <a:pt x="2632792" y="2840932"/>
                  <a:pt x="2640559" y="2802205"/>
                </a:cubicBezTo>
                <a:close/>
                <a:moveTo>
                  <a:pt x="1686665" y="2802151"/>
                </a:moveTo>
                <a:cubicBezTo>
                  <a:pt x="1787743" y="2828023"/>
                  <a:pt x="1845969" y="2880088"/>
                  <a:pt x="1879018" y="2936867"/>
                </a:cubicBezTo>
                <a:lnTo>
                  <a:pt x="1878964" y="2936867"/>
                </a:lnTo>
                <a:cubicBezTo>
                  <a:pt x="1935745" y="3034518"/>
                  <a:pt x="1792296" y="3124025"/>
                  <a:pt x="1729839" y="3029911"/>
                </a:cubicBezTo>
                <a:cubicBezTo>
                  <a:pt x="1669846" y="2939492"/>
                  <a:pt x="1678898" y="2840878"/>
                  <a:pt x="1686665" y="2802151"/>
                </a:cubicBezTo>
                <a:close/>
                <a:moveTo>
                  <a:pt x="732718" y="2802098"/>
                </a:moveTo>
                <a:cubicBezTo>
                  <a:pt x="833796" y="2827969"/>
                  <a:pt x="892022" y="2880034"/>
                  <a:pt x="925071" y="2936815"/>
                </a:cubicBezTo>
                <a:cubicBezTo>
                  <a:pt x="981851" y="3034464"/>
                  <a:pt x="838403" y="3123972"/>
                  <a:pt x="775945" y="3029857"/>
                </a:cubicBezTo>
                <a:cubicBezTo>
                  <a:pt x="715951" y="2939439"/>
                  <a:pt x="724951" y="2840824"/>
                  <a:pt x="732718" y="2802098"/>
                </a:cubicBezTo>
                <a:close/>
                <a:moveTo>
                  <a:pt x="5242560" y="2603546"/>
                </a:moveTo>
                <a:lnTo>
                  <a:pt x="5242560" y="2807630"/>
                </a:lnTo>
                <a:lnTo>
                  <a:pt x="5235183" y="2811049"/>
                </a:lnTo>
                <a:cubicBezTo>
                  <a:pt x="5196355" y="2824273"/>
                  <a:pt x="5161939" y="2827809"/>
                  <a:pt x="5142174" y="2828344"/>
                </a:cubicBezTo>
                <a:cubicBezTo>
                  <a:pt x="5144959" y="2724106"/>
                  <a:pt x="5182776" y="2655756"/>
                  <a:pt x="5230824" y="2610922"/>
                </a:cubicBezTo>
                <a:lnTo>
                  <a:pt x="5230824" y="2610868"/>
                </a:lnTo>
                <a:close/>
                <a:moveTo>
                  <a:pt x="0" y="2603031"/>
                </a:moveTo>
                <a:lnTo>
                  <a:pt x="12530" y="2611029"/>
                </a:lnTo>
                <a:cubicBezTo>
                  <a:pt x="91110" y="2685861"/>
                  <a:pt x="104181" y="2783992"/>
                  <a:pt x="105252" y="2823524"/>
                </a:cubicBezTo>
                <a:cubicBezTo>
                  <a:pt x="79179" y="2822827"/>
                  <a:pt x="55352" y="2819941"/>
                  <a:pt x="33578" y="2815253"/>
                </a:cubicBezTo>
                <a:lnTo>
                  <a:pt x="0" y="2804460"/>
                </a:lnTo>
                <a:close/>
                <a:moveTo>
                  <a:pt x="4342026" y="2586310"/>
                </a:moveTo>
                <a:cubicBezTo>
                  <a:pt x="4406726" y="2591394"/>
                  <a:pt x="4459133" y="2674223"/>
                  <a:pt x="4400720" y="2735569"/>
                </a:cubicBezTo>
                <a:cubicBezTo>
                  <a:pt x="4325889" y="2814150"/>
                  <a:pt x="4227758" y="2827220"/>
                  <a:pt x="4188226" y="2828290"/>
                </a:cubicBezTo>
                <a:cubicBezTo>
                  <a:pt x="4191012" y="2724052"/>
                  <a:pt x="4228828" y="2655702"/>
                  <a:pt x="4276877" y="2610868"/>
                </a:cubicBezTo>
                <a:lnTo>
                  <a:pt x="4276877" y="2610815"/>
                </a:lnTo>
                <a:cubicBezTo>
                  <a:pt x="4297526" y="2591558"/>
                  <a:pt x="4320459" y="2584615"/>
                  <a:pt x="4342026" y="2586310"/>
                </a:cubicBezTo>
                <a:close/>
                <a:moveTo>
                  <a:pt x="3388239" y="2586256"/>
                </a:moveTo>
                <a:cubicBezTo>
                  <a:pt x="3452939" y="2591340"/>
                  <a:pt x="3505346" y="2674170"/>
                  <a:pt x="3446934" y="2735515"/>
                </a:cubicBezTo>
                <a:cubicBezTo>
                  <a:pt x="3372102" y="2814096"/>
                  <a:pt x="3273971" y="2827166"/>
                  <a:pt x="3234439" y="2828237"/>
                </a:cubicBezTo>
                <a:cubicBezTo>
                  <a:pt x="3237225" y="2723998"/>
                  <a:pt x="3275042" y="2655649"/>
                  <a:pt x="3323090" y="2610815"/>
                </a:cubicBezTo>
                <a:lnTo>
                  <a:pt x="3323090" y="2610762"/>
                </a:lnTo>
                <a:cubicBezTo>
                  <a:pt x="3343739" y="2591505"/>
                  <a:pt x="3366672" y="2584561"/>
                  <a:pt x="3388239" y="2586256"/>
                </a:cubicBezTo>
                <a:close/>
                <a:moveTo>
                  <a:pt x="2434238" y="2586203"/>
                </a:moveTo>
                <a:cubicBezTo>
                  <a:pt x="2498939" y="2591287"/>
                  <a:pt x="2551346" y="2674116"/>
                  <a:pt x="2492933" y="2735461"/>
                </a:cubicBezTo>
                <a:cubicBezTo>
                  <a:pt x="2418101" y="2814043"/>
                  <a:pt x="2319970" y="2827112"/>
                  <a:pt x="2280438" y="2828183"/>
                </a:cubicBezTo>
                <a:cubicBezTo>
                  <a:pt x="2283224" y="2723945"/>
                  <a:pt x="2321041" y="2655596"/>
                  <a:pt x="2369089" y="2610762"/>
                </a:cubicBezTo>
                <a:lnTo>
                  <a:pt x="2369089" y="2610708"/>
                </a:lnTo>
                <a:cubicBezTo>
                  <a:pt x="2389739" y="2591451"/>
                  <a:pt x="2412671" y="2584508"/>
                  <a:pt x="2434238" y="2586203"/>
                </a:cubicBezTo>
                <a:close/>
                <a:moveTo>
                  <a:pt x="4717275" y="2586175"/>
                </a:moveTo>
                <a:cubicBezTo>
                  <a:pt x="4738822" y="2584668"/>
                  <a:pt x="4761658" y="2591826"/>
                  <a:pt x="4782106" y="2611297"/>
                </a:cubicBezTo>
                <a:cubicBezTo>
                  <a:pt x="4860687" y="2686128"/>
                  <a:pt x="4873810" y="2784260"/>
                  <a:pt x="4874828" y="2823791"/>
                </a:cubicBezTo>
                <a:cubicBezTo>
                  <a:pt x="4770536" y="2821006"/>
                  <a:pt x="4702187" y="2783189"/>
                  <a:pt x="4657352" y="2735141"/>
                </a:cubicBezTo>
                <a:cubicBezTo>
                  <a:pt x="4599582" y="2673192"/>
                  <a:pt x="4652632" y="2590695"/>
                  <a:pt x="4717275" y="2586175"/>
                </a:cubicBezTo>
                <a:close/>
                <a:moveTo>
                  <a:pt x="1480291" y="2586149"/>
                </a:moveTo>
                <a:cubicBezTo>
                  <a:pt x="1544992" y="2591234"/>
                  <a:pt x="1597399" y="2674062"/>
                  <a:pt x="1538985" y="2735408"/>
                </a:cubicBezTo>
                <a:cubicBezTo>
                  <a:pt x="1464154" y="2813989"/>
                  <a:pt x="1366022" y="2827058"/>
                  <a:pt x="1326491" y="2828129"/>
                </a:cubicBezTo>
                <a:cubicBezTo>
                  <a:pt x="1329277" y="2723892"/>
                  <a:pt x="1367094" y="2655542"/>
                  <a:pt x="1415142" y="2610708"/>
                </a:cubicBezTo>
                <a:lnTo>
                  <a:pt x="1415142" y="2610654"/>
                </a:lnTo>
                <a:cubicBezTo>
                  <a:pt x="1435792" y="2591398"/>
                  <a:pt x="1458724" y="2584454"/>
                  <a:pt x="1480291" y="2586149"/>
                </a:cubicBezTo>
                <a:close/>
                <a:moveTo>
                  <a:pt x="3763381" y="2586121"/>
                </a:moveTo>
                <a:cubicBezTo>
                  <a:pt x="3784928" y="2584615"/>
                  <a:pt x="3807763" y="2591773"/>
                  <a:pt x="3828212" y="2611244"/>
                </a:cubicBezTo>
                <a:cubicBezTo>
                  <a:pt x="3906793" y="2686075"/>
                  <a:pt x="3919863" y="2784206"/>
                  <a:pt x="3920935" y="2823737"/>
                </a:cubicBezTo>
                <a:cubicBezTo>
                  <a:pt x="3816643" y="2820952"/>
                  <a:pt x="3748293" y="2783135"/>
                  <a:pt x="3703459" y="2735087"/>
                </a:cubicBezTo>
                <a:cubicBezTo>
                  <a:pt x="3645689" y="2673139"/>
                  <a:pt x="3698738" y="2590641"/>
                  <a:pt x="3763381" y="2586121"/>
                </a:cubicBezTo>
                <a:close/>
                <a:moveTo>
                  <a:pt x="526397" y="2586095"/>
                </a:moveTo>
                <a:cubicBezTo>
                  <a:pt x="591098" y="2591180"/>
                  <a:pt x="643504" y="2674009"/>
                  <a:pt x="585091" y="2735354"/>
                </a:cubicBezTo>
                <a:cubicBezTo>
                  <a:pt x="510260" y="2813935"/>
                  <a:pt x="412128" y="2827005"/>
                  <a:pt x="372597" y="2828077"/>
                </a:cubicBezTo>
                <a:cubicBezTo>
                  <a:pt x="375382" y="2723839"/>
                  <a:pt x="413200" y="2655489"/>
                  <a:pt x="461248" y="2610654"/>
                </a:cubicBezTo>
                <a:lnTo>
                  <a:pt x="461248" y="2610601"/>
                </a:lnTo>
                <a:cubicBezTo>
                  <a:pt x="481898" y="2591344"/>
                  <a:pt x="504831" y="2584401"/>
                  <a:pt x="526397" y="2586095"/>
                </a:cubicBezTo>
                <a:close/>
                <a:moveTo>
                  <a:pt x="2809540" y="2586068"/>
                </a:moveTo>
                <a:cubicBezTo>
                  <a:pt x="2831088" y="2584561"/>
                  <a:pt x="2853923" y="2591719"/>
                  <a:pt x="2874372" y="2611190"/>
                </a:cubicBezTo>
                <a:cubicBezTo>
                  <a:pt x="2952952" y="2686021"/>
                  <a:pt x="2966076" y="2784153"/>
                  <a:pt x="2967094" y="2823684"/>
                </a:cubicBezTo>
                <a:cubicBezTo>
                  <a:pt x="2862802" y="2820899"/>
                  <a:pt x="2794453" y="2783082"/>
                  <a:pt x="2749619" y="2735033"/>
                </a:cubicBezTo>
                <a:cubicBezTo>
                  <a:pt x="2691848" y="2673085"/>
                  <a:pt x="2744897" y="2590587"/>
                  <a:pt x="2809540" y="2586068"/>
                </a:cubicBezTo>
                <a:close/>
                <a:moveTo>
                  <a:pt x="1855540" y="2586014"/>
                </a:moveTo>
                <a:cubicBezTo>
                  <a:pt x="1877087" y="2584507"/>
                  <a:pt x="1899923" y="2591665"/>
                  <a:pt x="1920371" y="2611136"/>
                </a:cubicBezTo>
                <a:cubicBezTo>
                  <a:pt x="1998952" y="2685968"/>
                  <a:pt x="2012022" y="2784099"/>
                  <a:pt x="2013093" y="2823631"/>
                </a:cubicBezTo>
                <a:cubicBezTo>
                  <a:pt x="1908801" y="2820845"/>
                  <a:pt x="1840451" y="2783028"/>
                  <a:pt x="1795617" y="2734980"/>
                </a:cubicBezTo>
                <a:cubicBezTo>
                  <a:pt x="1737847" y="2673031"/>
                  <a:pt x="1790897" y="2590534"/>
                  <a:pt x="1855540" y="2586014"/>
                </a:cubicBezTo>
                <a:close/>
                <a:moveTo>
                  <a:pt x="901646" y="2585960"/>
                </a:moveTo>
                <a:cubicBezTo>
                  <a:pt x="923193" y="2584454"/>
                  <a:pt x="946029" y="2591612"/>
                  <a:pt x="966478" y="2611083"/>
                </a:cubicBezTo>
                <a:cubicBezTo>
                  <a:pt x="1045058" y="2685914"/>
                  <a:pt x="1058128" y="2784045"/>
                  <a:pt x="1059199" y="2823577"/>
                </a:cubicBezTo>
                <a:cubicBezTo>
                  <a:pt x="954907" y="2820791"/>
                  <a:pt x="886557" y="2782974"/>
                  <a:pt x="841723" y="2734926"/>
                </a:cubicBezTo>
                <a:cubicBezTo>
                  <a:pt x="783953" y="2672978"/>
                  <a:pt x="837003" y="2590480"/>
                  <a:pt x="901646" y="2585960"/>
                </a:cubicBezTo>
                <a:close/>
                <a:moveTo>
                  <a:pt x="5137298" y="2503867"/>
                </a:moveTo>
                <a:cubicBezTo>
                  <a:pt x="5153402" y="2504866"/>
                  <a:pt x="5166827" y="2506884"/>
                  <a:pt x="5176509" y="2508826"/>
                </a:cubicBezTo>
                <a:cubicBezTo>
                  <a:pt x="5150637" y="2609904"/>
                  <a:pt x="5098572" y="2668130"/>
                  <a:pt x="5041792" y="2701179"/>
                </a:cubicBezTo>
                <a:cubicBezTo>
                  <a:pt x="4944142" y="2757960"/>
                  <a:pt x="4854634" y="2614511"/>
                  <a:pt x="4948748" y="2552054"/>
                </a:cubicBezTo>
                <a:cubicBezTo>
                  <a:pt x="5016562" y="2507058"/>
                  <a:pt x="5088985" y="2500871"/>
                  <a:pt x="5137298" y="2503867"/>
                </a:cubicBezTo>
                <a:close/>
                <a:moveTo>
                  <a:pt x="4183404" y="2503814"/>
                </a:moveTo>
                <a:cubicBezTo>
                  <a:pt x="4199508" y="2504812"/>
                  <a:pt x="4212933" y="2506831"/>
                  <a:pt x="4222615" y="2508773"/>
                </a:cubicBezTo>
                <a:cubicBezTo>
                  <a:pt x="4196743" y="2609851"/>
                  <a:pt x="4144677" y="2668077"/>
                  <a:pt x="4087898" y="2701127"/>
                </a:cubicBezTo>
                <a:cubicBezTo>
                  <a:pt x="3990248" y="2757906"/>
                  <a:pt x="3900740" y="2614458"/>
                  <a:pt x="3994854" y="2552001"/>
                </a:cubicBezTo>
                <a:cubicBezTo>
                  <a:pt x="4062668" y="2507006"/>
                  <a:pt x="4135092" y="2500818"/>
                  <a:pt x="4183404" y="2503814"/>
                </a:cubicBezTo>
                <a:close/>
                <a:moveTo>
                  <a:pt x="3229541" y="2503760"/>
                </a:moveTo>
                <a:cubicBezTo>
                  <a:pt x="3245648" y="2504758"/>
                  <a:pt x="3259080" y="2506777"/>
                  <a:pt x="3268775" y="2508719"/>
                </a:cubicBezTo>
                <a:cubicBezTo>
                  <a:pt x="3242956" y="2609797"/>
                  <a:pt x="3190837" y="2668023"/>
                  <a:pt x="3134058" y="2701073"/>
                </a:cubicBezTo>
                <a:cubicBezTo>
                  <a:pt x="3036407" y="2757852"/>
                  <a:pt x="2946900" y="2614404"/>
                  <a:pt x="3041014" y="2551947"/>
                </a:cubicBezTo>
                <a:cubicBezTo>
                  <a:pt x="3108828" y="2506952"/>
                  <a:pt x="3181222" y="2500765"/>
                  <a:pt x="3229541" y="2503760"/>
                </a:cubicBezTo>
                <a:close/>
                <a:moveTo>
                  <a:pt x="2275563" y="2503706"/>
                </a:moveTo>
                <a:cubicBezTo>
                  <a:pt x="2291667" y="2504705"/>
                  <a:pt x="2305092" y="2506724"/>
                  <a:pt x="2314774" y="2508665"/>
                </a:cubicBezTo>
                <a:cubicBezTo>
                  <a:pt x="2288902" y="2609743"/>
                  <a:pt x="2236836" y="2667969"/>
                  <a:pt x="2180056" y="2701019"/>
                </a:cubicBezTo>
                <a:cubicBezTo>
                  <a:pt x="2082407" y="2757799"/>
                  <a:pt x="1992898" y="2614350"/>
                  <a:pt x="2087013" y="2551893"/>
                </a:cubicBezTo>
                <a:cubicBezTo>
                  <a:pt x="2154827" y="2506898"/>
                  <a:pt x="2227251" y="2500711"/>
                  <a:pt x="2275563" y="2503706"/>
                </a:cubicBezTo>
                <a:close/>
                <a:moveTo>
                  <a:pt x="1321669" y="2503653"/>
                </a:moveTo>
                <a:cubicBezTo>
                  <a:pt x="1337773" y="2504652"/>
                  <a:pt x="1351198" y="2506670"/>
                  <a:pt x="1360880" y="2508612"/>
                </a:cubicBezTo>
                <a:cubicBezTo>
                  <a:pt x="1335062" y="2609690"/>
                  <a:pt x="1282942" y="2667915"/>
                  <a:pt x="1226163" y="2700966"/>
                </a:cubicBezTo>
                <a:cubicBezTo>
                  <a:pt x="1128512" y="2757745"/>
                  <a:pt x="1039005" y="2614297"/>
                  <a:pt x="1133119" y="2551840"/>
                </a:cubicBezTo>
                <a:cubicBezTo>
                  <a:pt x="1200934" y="2506845"/>
                  <a:pt x="1273358" y="2500658"/>
                  <a:pt x="1321669" y="2503653"/>
                </a:cubicBezTo>
                <a:close/>
                <a:moveTo>
                  <a:pt x="367700" y="2503599"/>
                </a:moveTo>
                <a:cubicBezTo>
                  <a:pt x="383806" y="2504598"/>
                  <a:pt x="397238" y="2506616"/>
                  <a:pt x="406933" y="2508558"/>
                </a:cubicBezTo>
                <a:cubicBezTo>
                  <a:pt x="381061" y="2609636"/>
                  <a:pt x="328995" y="2667862"/>
                  <a:pt x="272216" y="2700912"/>
                </a:cubicBezTo>
                <a:cubicBezTo>
                  <a:pt x="174565" y="2757691"/>
                  <a:pt x="85058" y="2614243"/>
                  <a:pt x="179172" y="2551786"/>
                </a:cubicBezTo>
                <a:cubicBezTo>
                  <a:pt x="246986" y="2506791"/>
                  <a:pt x="319380" y="2500604"/>
                  <a:pt x="367700" y="2503599"/>
                </a:cubicBezTo>
                <a:close/>
                <a:moveTo>
                  <a:pt x="799412" y="2346066"/>
                </a:moveTo>
                <a:cubicBezTo>
                  <a:pt x="880676" y="2336339"/>
                  <a:pt x="938912" y="2452998"/>
                  <a:pt x="856561" y="2507648"/>
                </a:cubicBezTo>
                <a:cubicBezTo>
                  <a:pt x="766143" y="2567641"/>
                  <a:pt x="667528" y="2558642"/>
                  <a:pt x="628800" y="2550875"/>
                </a:cubicBezTo>
                <a:cubicBezTo>
                  <a:pt x="654619" y="2449797"/>
                  <a:pt x="706738" y="2391572"/>
                  <a:pt x="763518" y="2358522"/>
                </a:cubicBezTo>
                <a:cubicBezTo>
                  <a:pt x="775724" y="2351424"/>
                  <a:pt x="787803" y="2347455"/>
                  <a:pt x="799412" y="2346066"/>
                </a:cubicBezTo>
                <a:close/>
                <a:moveTo>
                  <a:pt x="1753359" y="2346012"/>
                </a:moveTo>
                <a:cubicBezTo>
                  <a:pt x="1834623" y="2336285"/>
                  <a:pt x="1892859" y="2452944"/>
                  <a:pt x="1810508" y="2507594"/>
                </a:cubicBezTo>
                <a:cubicBezTo>
                  <a:pt x="1720090" y="2567588"/>
                  <a:pt x="1621476" y="2558588"/>
                  <a:pt x="1582748" y="2550821"/>
                </a:cubicBezTo>
                <a:cubicBezTo>
                  <a:pt x="1608620" y="2449743"/>
                  <a:pt x="1660686" y="2391518"/>
                  <a:pt x="1717465" y="2358468"/>
                </a:cubicBezTo>
                <a:cubicBezTo>
                  <a:pt x="1729671" y="2351371"/>
                  <a:pt x="1741750" y="2347402"/>
                  <a:pt x="1753359" y="2346012"/>
                </a:cubicBezTo>
                <a:close/>
                <a:moveTo>
                  <a:pt x="2707360" y="2345959"/>
                </a:moveTo>
                <a:cubicBezTo>
                  <a:pt x="2788624" y="2336232"/>
                  <a:pt x="2846860" y="2452891"/>
                  <a:pt x="2764510" y="2507541"/>
                </a:cubicBezTo>
                <a:cubicBezTo>
                  <a:pt x="2674091" y="2567534"/>
                  <a:pt x="2575477" y="2558535"/>
                  <a:pt x="2536750" y="2550769"/>
                </a:cubicBezTo>
                <a:cubicBezTo>
                  <a:pt x="2562621" y="2449691"/>
                  <a:pt x="2614687" y="2391465"/>
                  <a:pt x="2671466" y="2358414"/>
                </a:cubicBezTo>
                <a:cubicBezTo>
                  <a:pt x="2683672" y="2351317"/>
                  <a:pt x="2695751" y="2347348"/>
                  <a:pt x="2707360" y="2345959"/>
                </a:cubicBezTo>
                <a:close/>
                <a:moveTo>
                  <a:pt x="3661362" y="2345905"/>
                </a:moveTo>
                <a:cubicBezTo>
                  <a:pt x="3742626" y="2336178"/>
                  <a:pt x="3800861" y="2452837"/>
                  <a:pt x="3718510" y="2507487"/>
                </a:cubicBezTo>
                <a:cubicBezTo>
                  <a:pt x="3628092" y="2567480"/>
                  <a:pt x="3529532" y="2558481"/>
                  <a:pt x="3490750" y="2550715"/>
                </a:cubicBezTo>
                <a:cubicBezTo>
                  <a:pt x="3516569" y="2449637"/>
                  <a:pt x="3568688" y="2391411"/>
                  <a:pt x="3625467" y="2358361"/>
                </a:cubicBezTo>
                <a:cubicBezTo>
                  <a:pt x="3637673" y="2351263"/>
                  <a:pt x="3649753" y="2347295"/>
                  <a:pt x="3661362" y="2345905"/>
                </a:cubicBezTo>
                <a:close/>
                <a:moveTo>
                  <a:pt x="4615202" y="2345851"/>
                </a:moveTo>
                <a:cubicBezTo>
                  <a:pt x="4696466" y="2336124"/>
                  <a:pt x="4754701" y="2452783"/>
                  <a:pt x="4672350" y="2507433"/>
                </a:cubicBezTo>
                <a:cubicBezTo>
                  <a:pt x="4581932" y="2567427"/>
                  <a:pt x="4483318" y="2558427"/>
                  <a:pt x="4444591" y="2550661"/>
                </a:cubicBezTo>
                <a:cubicBezTo>
                  <a:pt x="4470463" y="2449583"/>
                  <a:pt x="4522528" y="2391357"/>
                  <a:pt x="4579307" y="2358307"/>
                </a:cubicBezTo>
                <a:cubicBezTo>
                  <a:pt x="4591513" y="2351210"/>
                  <a:pt x="4603592" y="2347241"/>
                  <a:pt x="4615202" y="2345851"/>
                </a:cubicBezTo>
                <a:close/>
                <a:moveTo>
                  <a:pt x="5242560" y="2292058"/>
                </a:moveTo>
                <a:lnTo>
                  <a:pt x="5242560" y="2463376"/>
                </a:lnTo>
                <a:lnTo>
                  <a:pt x="5234866" y="2461242"/>
                </a:lnTo>
                <a:cubicBezTo>
                  <a:pt x="5186644" y="2437705"/>
                  <a:pt x="5158364" y="2371665"/>
                  <a:pt x="5207042" y="2320544"/>
                </a:cubicBezTo>
                <a:close/>
                <a:moveTo>
                  <a:pt x="0" y="2236961"/>
                </a:moveTo>
                <a:lnTo>
                  <a:pt x="34709" y="2240966"/>
                </a:lnTo>
                <a:cubicBezTo>
                  <a:pt x="100033" y="2255030"/>
                  <a:pt x="146886" y="2285311"/>
                  <a:pt x="180511" y="2321347"/>
                </a:cubicBezTo>
                <a:cubicBezTo>
                  <a:pt x="257538" y="2403945"/>
                  <a:pt x="137552" y="2523074"/>
                  <a:pt x="55757" y="2445191"/>
                </a:cubicBezTo>
                <a:cubicBezTo>
                  <a:pt x="36112" y="2426483"/>
                  <a:pt x="20561" y="2406319"/>
                  <a:pt x="8269" y="2385978"/>
                </a:cubicBezTo>
                <a:lnTo>
                  <a:pt x="0" y="2368140"/>
                </a:lnTo>
                <a:close/>
                <a:moveTo>
                  <a:pt x="917090" y="2232642"/>
                </a:moveTo>
                <a:cubicBezTo>
                  <a:pt x="1021382" y="2235428"/>
                  <a:pt x="1089732" y="2273246"/>
                  <a:pt x="1134566" y="2321294"/>
                </a:cubicBezTo>
                <a:cubicBezTo>
                  <a:pt x="1211593" y="2403892"/>
                  <a:pt x="1091607" y="2523021"/>
                  <a:pt x="1009812" y="2445137"/>
                </a:cubicBezTo>
                <a:cubicBezTo>
                  <a:pt x="931232" y="2370306"/>
                  <a:pt x="918161" y="2272174"/>
                  <a:pt x="917090" y="2232642"/>
                </a:cubicBezTo>
                <a:close/>
                <a:moveTo>
                  <a:pt x="1871037" y="2232589"/>
                </a:moveTo>
                <a:cubicBezTo>
                  <a:pt x="1975329" y="2235375"/>
                  <a:pt x="2043679" y="2273192"/>
                  <a:pt x="2088513" y="2321240"/>
                </a:cubicBezTo>
                <a:cubicBezTo>
                  <a:pt x="2165540" y="2403838"/>
                  <a:pt x="2045554" y="2522968"/>
                  <a:pt x="1963759" y="2445084"/>
                </a:cubicBezTo>
                <a:cubicBezTo>
                  <a:pt x="1885179" y="2370252"/>
                  <a:pt x="1872108" y="2272121"/>
                  <a:pt x="1871037" y="2232589"/>
                </a:cubicBezTo>
                <a:close/>
                <a:moveTo>
                  <a:pt x="2824984" y="2232535"/>
                </a:moveTo>
                <a:cubicBezTo>
                  <a:pt x="2929277" y="2235321"/>
                  <a:pt x="2997626" y="2273138"/>
                  <a:pt x="3042461" y="2321186"/>
                </a:cubicBezTo>
                <a:cubicBezTo>
                  <a:pt x="3119488" y="2403784"/>
                  <a:pt x="2999501" y="2522914"/>
                  <a:pt x="2917707" y="2445030"/>
                </a:cubicBezTo>
                <a:cubicBezTo>
                  <a:pt x="2839126" y="2370198"/>
                  <a:pt x="2826056" y="2272067"/>
                  <a:pt x="2824984" y="2232535"/>
                </a:cubicBezTo>
                <a:close/>
                <a:moveTo>
                  <a:pt x="3778986" y="2232482"/>
                </a:moveTo>
                <a:cubicBezTo>
                  <a:pt x="3883278" y="2235268"/>
                  <a:pt x="3951628" y="2273084"/>
                  <a:pt x="3996462" y="2321133"/>
                </a:cubicBezTo>
                <a:cubicBezTo>
                  <a:pt x="4073489" y="2403731"/>
                  <a:pt x="3953502" y="2522861"/>
                  <a:pt x="3871708" y="2444976"/>
                </a:cubicBezTo>
                <a:cubicBezTo>
                  <a:pt x="3793128" y="2370146"/>
                  <a:pt x="3780058" y="2272014"/>
                  <a:pt x="3778986" y="2232482"/>
                </a:cubicBezTo>
                <a:close/>
                <a:moveTo>
                  <a:pt x="4732933" y="2232428"/>
                </a:moveTo>
                <a:cubicBezTo>
                  <a:pt x="4837172" y="2235214"/>
                  <a:pt x="4905521" y="2273031"/>
                  <a:pt x="4950356" y="2321079"/>
                </a:cubicBezTo>
                <a:lnTo>
                  <a:pt x="4950409" y="2321079"/>
                </a:lnTo>
                <a:cubicBezTo>
                  <a:pt x="5027436" y="2403677"/>
                  <a:pt x="4907450" y="2522807"/>
                  <a:pt x="4825654" y="2444922"/>
                </a:cubicBezTo>
                <a:cubicBezTo>
                  <a:pt x="4747075" y="2370092"/>
                  <a:pt x="4734004" y="2271960"/>
                  <a:pt x="4732933" y="2232428"/>
                </a:cubicBezTo>
                <a:close/>
                <a:moveTo>
                  <a:pt x="649745" y="2228089"/>
                </a:moveTo>
                <a:cubicBezTo>
                  <a:pt x="646960" y="2332328"/>
                  <a:pt x="609143" y="2400677"/>
                  <a:pt x="561094" y="2445512"/>
                </a:cubicBezTo>
                <a:lnTo>
                  <a:pt x="561094" y="2445566"/>
                </a:lnTo>
                <a:cubicBezTo>
                  <a:pt x="478496" y="2522593"/>
                  <a:pt x="359367" y="2402606"/>
                  <a:pt x="437251" y="2320812"/>
                </a:cubicBezTo>
                <a:cubicBezTo>
                  <a:pt x="512081" y="2242231"/>
                  <a:pt x="610214" y="2229161"/>
                  <a:pt x="649745" y="2228089"/>
                </a:cubicBezTo>
                <a:close/>
                <a:moveTo>
                  <a:pt x="1603692" y="2228036"/>
                </a:moveTo>
                <a:cubicBezTo>
                  <a:pt x="1600907" y="2332274"/>
                  <a:pt x="1563090" y="2400624"/>
                  <a:pt x="1515042" y="2445458"/>
                </a:cubicBezTo>
                <a:lnTo>
                  <a:pt x="1515042" y="2445512"/>
                </a:lnTo>
                <a:cubicBezTo>
                  <a:pt x="1432443" y="2522539"/>
                  <a:pt x="1313314" y="2402552"/>
                  <a:pt x="1391198" y="2320758"/>
                </a:cubicBezTo>
                <a:cubicBezTo>
                  <a:pt x="1466028" y="2242177"/>
                  <a:pt x="1564161" y="2229108"/>
                  <a:pt x="1603692" y="2228036"/>
                </a:cubicBezTo>
                <a:close/>
                <a:moveTo>
                  <a:pt x="2557639" y="2227983"/>
                </a:moveTo>
                <a:cubicBezTo>
                  <a:pt x="2554854" y="2332220"/>
                  <a:pt x="2517036" y="2400570"/>
                  <a:pt x="2468989" y="2445405"/>
                </a:cubicBezTo>
                <a:lnTo>
                  <a:pt x="2468989" y="2445458"/>
                </a:lnTo>
                <a:cubicBezTo>
                  <a:pt x="2386390" y="2522485"/>
                  <a:pt x="2267261" y="2402499"/>
                  <a:pt x="2345146" y="2320705"/>
                </a:cubicBezTo>
                <a:cubicBezTo>
                  <a:pt x="2419976" y="2242124"/>
                  <a:pt x="2518108" y="2229054"/>
                  <a:pt x="2557639" y="2227983"/>
                </a:cubicBezTo>
                <a:close/>
                <a:moveTo>
                  <a:pt x="3511642" y="2227930"/>
                </a:moveTo>
                <a:cubicBezTo>
                  <a:pt x="3508856" y="2332168"/>
                  <a:pt x="3471038" y="2400517"/>
                  <a:pt x="3422990" y="2445351"/>
                </a:cubicBezTo>
                <a:lnTo>
                  <a:pt x="3422990" y="2445405"/>
                </a:lnTo>
                <a:cubicBezTo>
                  <a:pt x="3340392" y="2522432"/>
                  <a:pt x="3221262" y="2402445"/>
                  <a:pt x="3299146" y="2320651"/>
                </a:cubicBezTo>
                <a:cubicBezTo>
                  <a:pt x="3373977" y="2242070"/>
                  <a:pt x="3472110" y="2229000"/>
                  <a:pt x="3511642" y="2227930"/>
                </a:cubicBezTo>
                <a:close/>
                <a:moveTo>
                  <a:pt x="4465642" y="2227876"/>
                </a:moveTo>
                <a:cubicBezTo>
                  <a:pt x="4462856" y="2332114"/>
                  <a:pt x="4425040" y="2400463"/>
                  <a:pt x="4376991" y="2445298"/>
                </a:cubicBezTo>
                <a:lnTo>
                  <a:pt x="4376991" y="2445351"/>
                </a:lnTo>
                <a:cubicBezTo>
                  <a:pt x="4294394" y="2522378"/>
                  <a:pt x="4175264" y="2402391"/>
                  <a:pt x="4253148" y="2320597"/>
                </a:cubicBezTo>
                <a:cubicBezTo>
                  <a:pt x="4327978" y="2242016"/>
                  <a:pt x="4426110" y="2228947"/>
                  <a:pt x="4465642" y="2227876"/>
                </a:cubicBezTo>
                <a:close/>
                <a:moveTo>
                  <a:pt x="175371" y="1986017"/>
                </a:moveTo>
                <a:cubicBezTo>
                  <a:pt x="196715" y="1989335"/>
                  <a:pt x="217391" y="2001387"/>
                  <a:pt x="233006" y="2024916"/>
                </a:cubicBezTo>
                <a:cubicBezTo>
                  <a:pt x="293052" y="2115335"/>
                  <a:pt x="284000" y="2213949"/>
                  <a:pt x="276232" y="2252676"/>
                </a:cubicBezTo>
                <a:cubicBezTo>
                  <a:pt x="175154" y="2226804"/>
                  <a:pt x="116929" y="2174739"/>
                  <a:pt x="83879" y="2117960"/>
                </a:cubicBezTo>
                <a:cubicBezTo>
                  <a:pt x="41295" y="2044722"/>
                  <a:pt x="111339" y="1976064"/>
                  <a:pt x="175371" y="1986017"/>
                </a:cubicBezTo>
                <a:close/>
                <a:moveTo>
                  <a:pt x="1129426" y="1985964"/>
                </a:moveTo>
                <a:cubicBezTo>
                  <a:pt x="1150770" y="1989281"/>
                  <a:pt x="1171446" y="2001334"/>
                  <a:pt x="1187060" y="2024862"/>
                </a:cubicBezTo>
                <a:cubicBezTo>
                  <a:pt x="1247054" y="2115281"/>
                  <a:pt x="1238001" y="2213895"/>
                  <a:pt x="1230233" y="2252623"/>
                </a:cubicBezTo>
                <a:cubicBezTo>
                  <a:pt x="1129209" y="2226750"/>
                  <a:pt x="1070984" y="2174685"/>
                  <a:pt x="1037934" y="2117906"/>
                </a:cubicBezTo>
                <a:cubicBezTo>
                  <a:pt x="995350" y="2044668"/>
                  <a:pt x="1065393" y="1976010"/>
                  <a:pt x="1129426" y="1985964"/>
                </a:cubicBezTo>
                <a:close/>
                <a:moveTo>
                  <a:pt x="2083373" y="1985910"/>
                </a:moveTo>
                <a:cubicBezTo>
                  <a:pt x="2104717" y="1989228"/>
                  <a:pt x="2125394" y="2001280"/>
                  <a:pt x="2141008" y="2024808"/>
                </a:cubicBezTo>
                <a:cubicBezTo>
                  <a:pt x="2201054" y="2115227"/>
                  <a:pt x="2192002" y="2213842"/>
                  <a:pt x="2184235" y="2252569"/>
                </a:cubicBezTo>
                <a:cubicBezTo>
                  <a:pt x="2083156" y="2226698"/>
                  <a:pt x="2024930" y="2174631"/>
                  <a:pt x="1991881" y="2117852"/>
                </a:cubicBezTo>
                <a:cubicBezTo>
                  <a:pt x="1949297" y="2044614"/>
                  <a:pt x="2019340" y="1975957"/>
                  <a:pt x="2083373" y="1985910"/>
                </a:cubicBezTo>
                <a:close/>
                <a:moveTo>
                  <a:pt x="3037374" y="1985856"/>
                </a:moveTo>
                <a:cubicBezTo>
                  <a:pt x="3058718" y="1989174"/>
                  <a:pt x="3079394" y="2001226"/>
                  <a:pt x="3095008" y="2024755"/>
                </a:cubicBezTo>
                <a:cubicBezTo>
                  <a:pt x="3155056" y="2115173"/>
                  <a:pt x="3146002" y="2213788"/>
                  <a:pt x="3138235" y="2252516"/>
                </a:cubicBezTo>
                <a:cubicBezTo>
                  <a:pt x="3037157" y="2226644"/>
                  <a:pt x="2978932" y="2174578"/>
                  <a:pt x="2945882" y="2117799"/>
                </a:cubicBezTo>
                <a:cubicBezTo>
                  <a:pt x="2903298" y="2044561"/>
                  <a:pt x="2973342" y="1975903"/>
                  <a:pt x="3037374" y="1985856"/>
                </a:cubicBezTo>
                <a:close/>
                <a:moveTo>
                  <a:pt x="3991375" y="1985803"/>
                </a:moveTo>
                <a:cubicBezTo>
                  <a:pt x="4012719" y="1989120"/>
                  <a:pt x="4033395" y="2001173"/>
                  <a:pt x="4049010" y="2024701"/>
                </a:cubicBezTo>
                <a:cubicBezTo>
                  <a:pt x="4109003" y="2115120"/>
                  <a:pt x="4100004" y="2213734"/>
                  <a:pt x="4092236" y="2252462"/>
                </a:cubicBezTo>
                <a:cubicBezTo>
                  <a:pt x="3991158" y="2226590"/>
                  <a:pt x="3932932" y="2174524"/>
                  <a:pt x="3899884" y="2117745"/>
                </a:cubicBezTo>
                <a:cubicBezTo>
                  <a:pt x="3857299" y="2044508"/>
                  <a:pt x="3927342" y="1975850"/>
                  <a:pt x="3991375" y="1985803"/>
                </a:cubicBezTo>
                <a:close/>
                <a:moveTo>
                  <a:pt x="4945215" y="1985749"/>
                </a:moveTo>
                <a:cubicBezTo>
                  <a:pt x="4966559" y="1989067"/>
                  <a:pt x="4987236" y="2001119"/>
                  <a:pt x="5002850" y="2024648"/>
                </a:cubicBezTo>
                <a:cubicBezTo>
                  <a:pt x="5062843" y="2115066"/>
                  <a:pt x="5053791" y="2213680"/>
                  <a:pt x="5046024" y="2252408"/>
                </a:cubicBezTo>
                <a:cubicBezTo>
                  <a:pt x="4944946" y="2226536"/>
                  <a:pt x="4886720" y="2174470"/>
                  <a:pt x="4853670" y="2117691"/>
                </a:cubicBezTo>
                <a:lnTo>
                  <a:pt x="4853724" y="2117691"/>
                </a:lnTo>
                <a:cubicBezTo>
                  <a:pt x="4811139" y="2044454"/>
                  <a:pt x="4881182" y="1975796"/>
                  <a:pt x="4945215" y="1985749"/>
                </a:cubicBezTo>
                <a:close/>
                <a:moveTo>
                  <a:pt x="327709" y="1929677"/>
                </a:moveTo>
                <a:cubicBezTo>
                  <a:pt x="428787" y="1955549"/>
                  <a:pt x="487013" y="2007614"/>
                  <a:pt x="520063" y="2064393"/>
                </a:cubicBezTo>
                <a:cubicBezTo>
                  <a:pt x="576843" y="2162043"/>
                  <a:pt x="433394" y="2251551"/>
                  <a:pt x="370937" y="2157437"/>
                </a:cubicBezTo>
                <a:cubicBezTo>
                  <a:pt x="310890" y="2067018"/>
                  <a:pt x="319942" y="1968404"/>
                  <a:pt x="327709" y="1929677"/>
                </a:cubicBezTo>
                <a:close/>
                <a:moveTo>
                  <a:pt x="1281657" y="1929623"/>
                </a:moveTo>
                <a:cubicBezTo>
                  <a:pt x="1382734" y="1955495"/>
                  <a:pt x="1440960" y="2007560"/>
                  <a:pt x="1474010" y="2064339"/>
                </a:cubicBezTo>
                <a:cubicBezTo>
                  <a:pt x="1530790" y="2161990"/>
                  <a:pt x="1387342" y="2251497"/>
                  <a:pt x="1324884" y="2157383"/>
                </a:cubicBezTo>
                <a:cubicBezTo>
                  <a:pt x="1264837" y="2066964"/>
                  <a:pt x="1273889" y="1968350"/>
                  <a:pt x="1281657" y="1929623"/>
                </a:cubicBezTo>
                <a:close/>
                <a:moveTo>
                  <a:pt x="2235658" y="1929569"/>
                </a:moveTo>
                <a:cubicBezTo>
                  <a:pt x="2336736" y="1955441"/>
                  <a:pt x="2394961" y="2007506"/>
                  <a:pt x="2428010" y="2064287"/>
                </a:cubicBezTo>
                <a:lnTo>
                  <a:pt x="2427958" y="2064287"/>
                </a:lnTo>
                <a:cubicBezTo>
                  <a:pt x="2484737" y="2161936"/>
                  <a:pt x="2341289" y="2251444"/>
                  <a:pt x="2278832" y="2157329"/>
                </a:cubicBezTo>
                <a:cubicBezTo>
                  <a:pt x="2218838" y="2066911"/>
                  <a:pt x="2227890" y="1968296"/>
                  <a:pt x="2235658" y="1929569"/>
                </a:cubicBezTo>
                <a:close/>
                <a:moveTo>
                  <a:pt x="3189658" y="1929516"/>
                </a:moveTo>
                <a:cubicBezTo>
                  <a:pt x="3290736" y="1955388"/>
                  <a:pt x="3348962" y="2007453"/>
                  <a:pt x="3382012" y="2064233"/>
                </a:cubicBezTo>
                <a:lnTo>
                  <a:pt x="3381959" y="2064233"/>
                </a:lnTo>
                <a:cubicBezTo>
                  <a:pt x="3438738" y="2161883"/>
                  <a:pt x="3295290" y="2251390"/>
                  <a:pt x="3232832" y="2157276"/>
                </a:cubicBezTo>
                <a:cubicBezTo>
                  <a:pt x="3172840" y="2066857"/>
                  <a:pt x="3181891" y="1968244"/>
                  <a:pt x="3189658" y="1929516"/>
                </a:cubicBezTo>
                <a:close/>
                <a:moveTo>
                  <a:pt x="4143552" y="1929462"/>
                </a:moveTo>
                <a:cubicBezTo>
                  <a:pt x="4244576" y="1955334"/>
                  <a:pt x="4302802" y="2007400"/>
                  <a:pt x="4335853" y="2064179"/>
                </a:cubicBezTo>
                <a:cubicBezTo>
                  <a:pt x="4392632" y="2161829"/>
                  <a:pt x="4249184" y="2251336"/>
                  <a:pt x="4186726" y="2157223"/>
                </a:cubicBezTo>
                <a:cubicBezTo>
                  <a:pt x="4126733" y="2066804"/>
                  <a:pt x="4135785" y="1968190"/>
                  <a:pt x="4143552" y="1929462"/>
                </a:cubicBezTo>
                <a:close/>
                <a:moveTo>
                  <a:pt x="5097500" y="1929408"/>
                </a:moveTo>
                <a:cubicBezTo>
                  <a:pt x="5148039" y="1942345"/>
                  <a:pt x="5187865" y="1961829"/>
                  <a:pt x="5219188" y="1985177"/>
                </a:cubicBezTo>
                <a:lnTo>
                  <a:pt x="5242560" y="2006664"/>
                </a:lnTo>
                <a:lnTo>
                  <a:pt x="5242560" y="2189776"/>
                </a:lnTo>
                <a:lnTo>
                  <a:pt x="5230330" y="2194836"/>
                </a:lnTo>
                <a:cubicBezTo>
                  <a:pt x="5198960" y="2201933"/>
                  <a:pt x="5164149" y="2192462"/>
                  <a:pt x="5140728" y="2157169"/>
                </a:cubicBezTo>
                <a:cubicBezTo>
                  <a:pt x="5080734" y="2066751"/>
                  <a:pt x="5089734" y="1968137"/>
                  <a:pt x="5097500" y="1929408"/>
                </a:cubicBezTo>
                <a:close/>
                <a:moveTo>
                  <a:pt x="5242560" y="1719724"/>
                </a:moveTo>
                <a:lnTo>
                  <a:pt x="5242560" y="1894103"/>
                </a:lnTo>
                <a:lnTo>
                  <a:pt x="5206506" y="1862291"/>
                </a:lnTo>
                <a:lnTo>
                  <a:pt x="5206452" y="1862291"/>
                </a:lnTo>
                <a:cubicBezTo>
                  <a:pt x="5158311" y="1810667"/>
                  <a:pt x="5187127" y="1744773"/>
                  <a:pt x="5235478" y="1721627"/>
                </a:cubicBezTo>
                <a:close/>
                <a:moveTo>
                  <a:pt x="121335" y="1713888"/>
                </a:moveTo>
                <a:cubicBezTo>
                  <a:pt x="186035" y="1718973"/>
                  <a:pt x="238442" y="1801802"/>
                  <a:pt x="180029" y="1863148"/>
                </a:cubicBezTo>
                <a:cubicBezTo>
                  <a:pt x="123906" y="1922084"/>
                  <a:pt x="54676" y="1944169"/>
                  <a:pt x="6891" y="1951981"/>
                </a:cubicBezTo>
                <a:lnTo>
                  <a:pt x="0" y="1952662"/>
                </a:lnTo>
                <a:lnTo>
                  <a:pt x="0" y="1815893"/>
                </a:lnTo>
                <a:lnTo>
                  <a:pt x="22456" y="1776623"/>
                </a:lnTo>
                <a:cubicBezTo>
                  <a:pt x="32802" y="1762280"/>
                  <a:pt x="44174" y="1749602"/>
                  <a:pt x="56186" y="1738394"/>
                </a:cubicBezTo>
                <a:cubicBezTo>
                  <a:pt x="76836" y="1719137"/>
                  <a:pt x="99768" y="1712193"/>
                  <a:pt x="121335" y="1713888"/>
                </a:cubicBezTo>
                <a:close/>
                <a:moveTo>
                  <a:pt x="1075229" y="1713835"/>
                </a:moveTo>
                <a:cubicBezTo>
                  <a:pt x="1139929" y="1718919"/>
                  <a:pt x="1192337" y="1801748"/>
                  <a:pt x="1133923" y="1863094"/>
                </a:cubicBezTo>
                <a:cubicBezTo>
                  <a:pt x="1059092" y="1941675"/>
                  <a:pt x="960961" y="1954745"/>
                  <a:pt x="921429" y="1955816"/>
                </a:cubicBezTo>
                <a:cubicBezTo>
                  <a:pt x="924214" y="1851524"/>
                  <a:pt x="962032" y="1783174"/>
                  <a:pt x="1010080" y="1738340"/>
                </a:cubicBezTo>
                <a:cubicBezTo>
                  <a:pt x="1030729" y="1719083"/>
                  <a:pt x="1053662" y="1712140"/>
                  <a:pt x="1075229" y="1713835"/>
                </a:cubicBezTo>
                <a:close/>
                <a:moveTo>
                  <a:pt x="2029283" y="1713781"/>
                </a:moveTo>
                <a:cubicBezTo>
                  <a:pt x="2093983" y="1718866"/>
                  <a:pt x="2146390" y="1801695"/>
                  <a:pt x="2087978" y="1863041"/>
                </a:cubicBezTo>
                <a:cubicBezTo>
                  <a:pt x="2013146" y="1941622"/>
                  <a:pt x="1915015" y="1954691"/>
                  <a:pt x="1875483" y="1955762"/>
                </a:cubicBezTo>
                <a:cubicBezTo>
                  <a:pt x="1878269" y="1851470"/>
                  <a:pt x="1916086" y="1783121"/>
                  <a:pt x="1964134" y="1738286"/>
                </a:cubicBezTo>
                <a:cubicBezTo>
                  <a:pt x="1984784" y="1719030"/>
                  <a:pt x="2007716" y="1712086"/>
                  <a:pt x="2029283" y="1713781"/>
                </a:cubicBezTo>
                <a:close/>
                <a:moveTo>
                  <a:pt x="2983231" y="1713728"/>
                </a:moveTo>
                <a:cubicBezTo>
                  <a:pt x="3047932" y="1718813"/>
                  <a:pt x="3100339" y="1801642"/>
                  <a:pt x="3041925" y="1862987"/>
                </a:cubicBezTo>
                <a:cubicBezTo>
                  <a:pt x="2967094" y="1941568"/>
                  <a:pt x="2868962" y="1954638"/>
                  <a:pt x="2829430" y="1955709"/>
                </a:cubicBezTo>
                <a:cubicBezTo>
                  <a:pt x="2832216" y="1851417"/>
                  <a:pt x="2870034" y="1783068"/>
                  <a:pt x="2918082" y="1738234"/>
                </a:cubicBezTo>
                <a:cubicBezTo>
                  <a:pt x="2938731" y="1718977"/>
                  <a:pt x="2961664" y="1712033"/>
                  <a:pt x="2983231" y="1713728"/>
                </a:cubicBezTo>
                <a:close/>
                <a:moveTo>
                  <a:pt x="3937231" y="1713675"/>
                </a:moveTo>
                <a:cubicBezTo>
                  <a:pt x="4001932" y="1718759"/>
                  <a:pt x="4054339" y="1801588"/>
                  <a:pt x="3995926" y="1862933"/>
                </a:cubicBezTo>
                <a:cubicBezTo>
                  <a:pt x="3921095" y="1941514"/>
                  <a:pt x="3822964" y="1954584"/>
                  <a:pt x="3783432" y="1955656"/>
                </a:cubicBezTo>
                <a:cubicBezTo>
                  <a:pt x="3786218" y="1851364"/>
                  <a:pt x="3824034" y="1783014"/>
                  <a:pt x="3872083" y="1738180"/>
                </a:cubicBezTo>
                <a:cubicBezTo>
                  <a:pt x="3892732" y="1718923"/>
                  <a:pt x="3915665" y="1711980"/>
                  <a:pt x="3937231" y="1713675"/>
                </a:cubicBezTo>
                <a:close/>
                <a:moveTo>
                  <a:pt x="4891233" y="1713621"/>
                </a:moveTo>
                <a:cubicBezTo>
                  <a:pt x="4955933" y="1718706"/>
                  <a:pt x="5008340" y="1801534"/>
                  <a:pt x="4949928" y="1862880"/>
                </a:cubicBezTo>
                <a:cubicBezTo>
                  <a:pt x="4875096" y="1941461"/>
                  <a:pt x="4776964" y="1954530"/>
                  <a:pt x="4737432" y="1955602"/>
                </a:cubicBezTo>
                <a:cubicBezTo>
                  <a:pt x="4740218" y="1851310"/>
                  <a:pt x="4778036" y="1782961"/>
                  <a:pt x="4826084" y="1738126"/>
                </a:cubicBezTo>
                <a:cubicBezTo>
                  <a:pt x="4846734" y="1718870"/>
                  <a:pt x="4869666" y="1711926"/>
                  <a:pt x="4891233" y="1713621"/>
                </a:cubicBezTo>
                <a:close/>
                <a:moveTo>
                  <a:pt x="496583" y="1713593"/>
                </a:moveTo>
                <a:cubicBezTo>
                  <a:pt x="518131" y="1712087"/>
                  <a:pt x="540967" y="1719244"/>
                  <a:pt x="561415" y="1738716"/>
                </a:cubicBezTo>
                <a:cubicBezTo>
                  <a:pt x="639996" y="1813546"/>
                  <a:pt x="653066" y="1911678"/>
                  <a:pt x="654137" y="1951209"/>
                </a:cubicBezTo>
                <a:cubicBezTo>
                  <a:pt x="549898" y="1948424"/>
                  <a:pt x="481549" y="1910607"/>
                  <a:pt x="436714" y="1862559"/>
                </a:cubicBezTo>
                <a:lnTo>
                  <a:pt x="436661" y="1862559"/>
                </a:lnTo>
                <a:cubicBezTo>
                  <a:pt x="378891" y="1800611"/>
                  <a:pt x="431940" y="1718113"/>
                  <a:pt x="496583" y="1713593"/>
                </a:cubicBezTo>
                <a:close/>
                <a:moveTo>
                  <a:pt x="1450584" y="1713540"/>
                </a:moveTo>
                <a:cubicBezTo>
                  <a:pt x="1472132" y="1712033"/>
                  <a:pt x="1494967" y="1719191"/>
                  <a:pt x="1515416" y="1738662"/>
                </a:cubicBezTo>
                <a:cubicBezTo>
                  <a:pt x="1593997" y="1813492"/>
                  <a:pt x="1607067" y="1911625"/>
                  <a:pt x="1608138" y="1951156"/>
                </a:cubicBezTo>
                <a:cubicBezTo>
                  <a:pt x="1503846" y="1948371"/>
                  <a:pt x="1435497" y="1910554"/>
                  <a:pt x="1390663" y="1862505"/>
                </a:cubicBezTo>
                <a:cubicBezTo>
                  <a:pt x="1332892" y="1800557"/>
                  <a:pt x="1385942" y="1718059"/>
                  <a:pt x="1450584" y="1713540"/>
                </a:cubicBezTo>
                <a:close/>
                <a:moveTo>
                  <a:pt x="2404532" y="1713486"/>
                </a:moveTo>
                <a:cubicBezTo>
                  <a:pt x="2426079" y="1711979"/>
                  <a:pt x="2448915" y="1719137"/>
                  <a:pt x="2469364" y="1738608"/>
                </a:cubicBezTo>
                <a:cubicBezTo>
                  <a:pt x="2547944" y="1813440"/>
                  <a:pt x="2561014" y="1911571"/>
                  <a:pt x="2562085" y="1951103"/>
                </a:cubicBezTo>
                <a:cubicBezTo>
                  <a:pt x="2457793" y="1948317"/>
                  <a:pt x="2389444" y="1910500"/>
                  <a:pt x="2344610" y="1862452"/>
                </a:cubicBezTo>
                <a:cubicBezTo>
                  <a:pt x="2286840" y="1800503"/>
                  <a:pt x="2339889" y="1718006"/>
                  <a:pt x="2404532" y="1713486"/>
                </a:cubicBezTo>
                <a:close/>
                <a:moveTo>
                  <a:pt x="3358532" y="1713432"/>
                </a:moveTo>
                <a:cubicBezTo>
                  <a:pt x="3380080" y="1711926"/>
                  <a:pt x="3402915" y="1719083"/>
                  <a:pt x="3423364" y="1738555"/>
                </a:cubicBezTo>
                <a:cubicBezTo>
                  <a:pt x="3501946" y="1813386"/>
                  <a:pt x="3515015" y="1911517"/>
                  <a:pt x="3516086" y="1951049"/>
                </a:cubicBezTo>
                <a:cubicBezTo>
                  <a:pt x="3411795" y="1948263"/>
                  <a:pt x="3343446" y="1910446"/>
                  <a:pt x="3298611" y="1862398"/>
                </a:cubicBezTo>
                <a:cubicBezTo>
                  <a:pt x="3240840" y="1800450"/>
                  <a:pt x="3293890" y="1717952"/>
                  <a:pt x="3358532" y="1713432"/>
                </a:cubicBezTo>
                <a:close/>
                <a:moveTo>
                  <a:pt x="4312534" y="1713379"/>
                </a:moveTo>
                <a:cubicBezTo>
                  <a:pt x="4334082" y="1711872"/>
                  <a:pt x="4356917" y="1719030"/>
                  <a:pt x="4377366" y="1738501"/>
                </a:cubicBezTo>
                <a:cubicBezTo>
                  <a:pt x="4455946" y="1813332"/>
                  <a:pt x="4469070" y="1911464"/>
                  <a:pt x="4470088" y="1950996"/>
                </a:cubicBezTo>
                <a:cubicBezTo>
                  <a:pt x="4365795" y="1948210"/>
                  <a:pt x="4297446" y="1910393"/>
                  <a:pt x="4252611" y="1862344"/>
                </a:cubicBezTo>
                <a:cubicBezTo>
                  <a:pt x="4194841" y="1800396"/>
                  <a:pt x="4247891" y="1717898"/>
                  <a:pt x="4312534" y="1713379"/>
                </a:cubicBezTo>
                <a:close/>
                <a:moveTo>
                  <a:pt x="0" y="1636061"/>
                </a:moveTo>
                <a:lnTo>
                  <a:pt x="1871" y="1636298"/>
                </a:lnTo>
                <a:lnTo>
                  <a:pt x="0" y="1641606"/>
                </a:lnTo>
                <a:close/>
                <a:moveTo>
                  <a:pt x="916639" y="1631278"/>
                </a:moveTo>
                <a:cubicBezTo>
                  <a:pt x="932745" y="1632281"/>
                  <a:pt x="946177" y="1634303"/>
                  <a:pt x="955872" y="1636245"/>
                </a:cubicBezTo>
                <a:cubicBezTo>
                  <a:pt x="930053" y="1737323"/>
                  <a:pt x="877934" y="1795548"/>
                  <a:pt x="821154" y="1828599"/>
                </a:cubicBezTo>
                <a:cubicBezTo>
                  <a:pt x="723505" y="1885378"/>
                  <a:pt x="633996" y="1741930"/>
                  <a:pt x="728111" y="1679472"/>
                </a:cubicBezTo>
                <a:cubicBezTo>
                  <a:pt x="795925" y="1634437"/>
                  <a:pt x="868319" y="1628270"/>
                  <a:pt x="916639" y="1631278"/>
                </a:cubicBezTo>
                <a:close/>
                <a:moveTo>
                  <a:pt x="1870608" y="1631224"/>
                </a:moveTo>
                <a:cubicBezTo>
                  <a:pt x="1886712" y="1632227"/>
                  <a:pt x="1900137" y="1634249"/>
                  <a:pt x="1909819" y="1636191"/>
                </a:cubicBezTo>
                <a:cubicBezTo>
                  <a:pt x="1883947" y="1737269"/>
                  <a:pt x="1831881" y="1795495"/>
                  <a:pt x="1775102" y="1828545"/>
                </a:cubicBezTo>
                <a:cubicBezTo>
                  <a:pt x="1677452" y="1885324"/>
                  <a:pt x="1587944" y="1741876"/>
                  <a:pt x="1682058" y="1679419"/>
                </a:cubicBezTo>
                <a:cubicBezTo>
                  <a:pt x="1749872" y="1634384"/>
                  <a:pt x="1822296" y="1628216"/>
                  <a:pt x="1870608" y="1631224"/>
                </a:cubicBezTo>
                <a:close/>
                <a:moveTo>
                  <a:pt x="2824555" y="1631171"/>
                </a:moveTo>
                <a:cubicBezTo>
                  <a:pt x="2840659" y="1632174"/>
                  <a:pt x="2854084" y="1634196"/>
                  <a:pt x="2863766" y="1636137"/>
                </a:cubicBezTo>
                <a:cubicBezTo>
                  <a:pt x="2837894" y="1737215"/>
                  <a:pt x="2785828" y="1795441"/>
                  <a:pt x="2729049" y="1828491"/>
                </a:cubicBezTo>
                <a:cubicBezTo>
                  <a:pt x="2631400" y="1885271"/>
                  <a:pt x="2541891" y="1741822"/>
                  <a:pt x="2636006" y="1679365"/>
                </a:cubicBezTo>
                <a:cubicBezTo>
                  <a:pt x="2703820" y="1634330"/>
                  <a:pt x="2776243" y="1628163"/>
                  <a:pt x="2824555" y="1631171"/>
                </a:cubicBezTo>
                <a:close/>
                <a:moveTo>
                  <a:pt x="3778557" y="1631118"/>
                </a:moveTo>
                <a:cubicBezTo>
                  <a:pt x="3794661" y="1632120"/>
                  <a:pt x="3808086" y="1634142"/>
                  <a:pt x="3817768" y="1636084"/>
                </a:cubicBezTo>
                <a:cubicBezTo>
                  <a:pt x="3791896" y="1737162"/>
                  <a:pt x="3739830" y="1795387"/>
                  <a:pt x="3683050" y="1828438"/>
                </a:cubicBezTo>
                <a:cubicBezTo>
                  <a:pt x="3585400" y="1885217"/>
                  <a:pt x="3495892" y="1741769"/>
                  <a:pt x="3590008" y="1679311"/>
                </a:cubicBezTo>
                <a:cubicBezTo>
                  <a:pt x="3657821" y="1634276"/>
                  <a:pt x="3730245" y="1628110"/>
                  <a:pt x="3778557" y="1631118"/>
                </a:cubicBezTo>
                <a:close/>
                <a:moveTo>
                  <a:pt x="4732535" y="1631064"/>
                </a:moveTo>
                <a:cubicBezTo>
                  <a:pt x="4748641" y="1632066"/>
                  <a:pt x="4762073" y="1634088"/>
                  <a:pt x="4771768" y="1636030"/>
                </a:cubicBezTo>
                <a:cubicBezTo>
                  <a:pt x="4745949" y="1737108"/>
                  <a:pt x="4693830" y="1795334"/>
                  <a:pt x="4637051" y="1828384"/>
                </a:cubicBezTo>
                <a:cubicBezTo>
                  <a:pt x="4539402" y="1885163"/>
                  <a:pt x="4449893" y="1741715"/>
                  <a:pt x="4544008" y="1679258"/>
                </a:cubicBezTo>
                <a:cubicBezTo>
                  <a:pt x="4611821" y="1634223"/>
                  <a:pt x="4684215" y="1628056"/>
                  <a:pt x="4732535" y="1631064"/>
                </a:cubicBezTo>
                <a:close/>
                <a:moveTo>
                  <a:pt x="5184656" y="1478037"/>
                </a:moveTo>
                <a:cubicBezTo>
                  <a:pt x="5196265" y="1476648"/>
                  <a:pt x="5207405" y="1477838"/>
                  <a:pt x="5217731" y="1481057"/>
                </a:cubicBezTo>
                <a:lnTo>
                  <a:pt x="5242560" y="1494441"/>
                </a:lnTo>
                <a:lnTo>
                  <a:pt x="5242560" y="1638876"/>
                </a:lnTo>
                <a:lnTo>
                  <a:pt x="5241806" y="1639620"/>
                </a:lnTo>
                <a:cubicBezTo>
                  <a:pt x="5151387" y="1699667"/>
                  <a:pt x="5052773" y="1690614"/>
                  <a:pt x="5014044" y="1682846"/>
                </a:cubicBezTo>
                <a:cubicBezTo>
                  <a:pt x="5039916" y="1581768"/>
                  <a:pt x="5091983" y="1523542"/>
                  <a:pt x="5148762" y="1490493"/>
                </a:cubicBezTo>
                <a:cubicBezTo>
                  <a:pt x="5160968" y="1483396"/>
                  <a:pt x="5173047" y="1479427"/>
                  <a:pt x="5184656" y="1478037"/>
                </a:cubicBezTo>
                <a:close/>
                <a:moveTo>
                  <a:pt x="4230655" y="1477984"/>
                </a:moveTo>
                <a:cubicBezTo>
                  <a:pt x="4311918" y="1468257"/>
                  <a:pt x="4370155" y="1584916"/>
                  <a:pt x="4287804" y="1639566"/>
                </a:cubicBezTo>
                <a:cubicBezTo>
                  <a:pt x="4197386" y="1699613"/>
                  <a:pt x="4098772" y="1690560"/>
                  <a:pt x="4060044" y="1682793"/>
                </a:cubicBezTo>
                <a:cubicBezTo>
                  <a:pt x="4085916" y="1581715"/>
                  <a:pt x="4137982" y="1523489"/>
                  <a:pt x="4194761" y="1490440"/>
                </a:cubicBezTo>
                <a:cubicBezTo>
                  <a:pt x="4206967" y="1483342"/>
                  <a:pt x="4219046" y="1479373"/>
                  <a:pt x="4230655" y="1477984"/>
                </a:cubicBezTo>
                <a:close/>
                <a:moveTo>
                  <a:pt x="3276761" y="1477930"/>
                </a:moveTo>
                <a:cubicBezTo>
                  <a:pt x="3358024" y="1468203"/>
                  <a:pt x="3416261" y="1584862"/>
                  <a:pt x="3333910" y="1639512"/>
                </a:cubicBezTo>
                <a:cubicBezTo>
                  <a:pt x="3243492" y="1699559"/>
                  <a:pt x="3144878" y="1690506"/>
                  <a:pt x="3106150" y="1682739"/>
                </a:cubicBezTo>
                <a:cubicBezTo>
                  <a:pt x="3132022" y="1581661"/>
                  <a:pt x="3184088" y="1523436"/>
                  <a:pt x="3240867" y="1490386"/>
                </a:cubicBezTo>
                <a:cubicBezTo>
                  <a:pt x="3253073" y="1483289"/>
                  <a:pt x="3265152" y="1479320"/>
                  <a:pt x="3276761" y="1477930"/>
                </a:cubicBezTo>
                <a:close/>
                <a:moveTo>
                  <a:pt x="2322760" y="1477876"/>
                </a:moveTo>
                <a:cubicBezTo>
                  <a:pt x="2404024" y="1468150"/>
                  <a:pt x="2462260" y="1584809"/>
                  <a:pt x="2379910" y="1639459"/>
                </a:cubicBezTo>
                <a:cubicBezTo>
                  <a:pt x="2289491" y="1699506"/>
                  <a:pt x="2190877" y="1690453"/>
                  <a:pt x="2152149" y="1682685"/>
                </a:cubicBezTo>
                <a:cubicBezTo>
                  <a:pt x="2178021" y="1581607"/>
                  <a:pt x="2230087" y="1523383"/>
                  <a:pt x="2286866" y="1490332"/>
                </a:cubicBezTo>
                <a:cubicBezTo>
                  <a:pt x="2299072" y="1483235"/>
                  <a:pt x="2311151" y="1479266"/>
                  <a:pt x="2322760" y="1477876"/>
                </a:cubicBezTo>
                <a:close/>
                <a:moveTo>
                  <a:pt x="1368921" y="1477823"/>
                </a:moveTo>
                <a:cubicBezTo>
                  <a:pt x="1450184" y="1468096"/>
                  <a:pt x="1508419" y="1584755"/>
                  <a:pt x="1426068" y="1639405"/>
                </a:cubicBezTo>
                <a:cubicBezTo>
                  <a:pt x="1335651" y="1699452"/>
                  <a:pt x="1237037" y="1690399"/>
                  <a:pt x="1198309" y="1682633"/>
                </a:cubicBezTo>
                <a:cubicBezTo>
                  <a:pt x="1224127" y="1581555"/>
                  <a:pt x="1276247" y="1523329"/>
                  <a:pt x="1333026" y="1490279"/>
                </a:cubicBezTo>
                <a:cubicBezTo>
                  <a:pt x="1345233" y="1483181"/>
                  <a:pt x="1357312" y="1479212"/>
                  <a:pt x="1368921" y="1477823"/>
                </a:cubicBezTo>
                <a:close/>
                <a:moveTo>
                  <a:pt x="414973" y="1477769"/>
                </a:moveTo>
                <a:cubicBezTo>
                  <a:pt x="496236" y="1468042"/>
                  <a:pt x="554472" y="1584701"/>
                  <a:pt x="472121" y="1639351"/>
                </a:cubicBezTo>
                <a:cubicBezTo>
                  <a:pt x="381704" y="1699398"/>
                  <a:pt x="283090" y="1690345"/>
                  <a:pt x="244361" y="1682579"/>
                </a:cubicBezTo>
                <a:cubicBezTo>
                  <a:pt x="270233" y="1581501"/>
                  <a:pt x="322300" y="1523275"/>
                  <a:pt x="379079" y="1490225"/>
                </a:cubicBezTo>
                <a:cubicBezTo>
                  <a:pt x="391285" y="1483127"/>
                  <a:pt x="403364" y="1479159"/>
                  <a:pt x="414973" y="1477769"/>
                </a:cubicBezTo>
                <a:close/>
                <a:moveTo>
                  <a:pt x="4348334" y="1364560"/>
                </a:moveTo>
                <a:cubicBezTo>
                  <a:pt x="4452626" y="1367346"/>
                  <a:pt x="4520975" y="1405163"/>
                  <a:pt x="4565810" y="1453212"/>
                </a:cubicBezTo>
                <a:cubicBezTo>
                  <a:pt x="4642836" y="1535809"/>
                  <a:pt x="4522850" y="1654939"/>
                  <a:pt x="4441055" y="1577055"/>
                </a:cubicBezTo>
                <a:cubicBezTo>
                  <a:pt x="4362475" y="1502224"/>
                  <a:pt x="4349404" y="1404092"/>
                  <a:pt x="4348334" y="1364560"/>
                </a:cubicBezTo>
                <a:close/>
                <a:moveTo>
                  <a:pt x="3394440" y="1364507"/>
                </a:moveTo>
                <a:cubicBezTo>
                  <a:pt x="3498732" y="1367293"/>
                  <a:pt x="3567082" y="1405110"/>
                  <a:pt x="3611916" y="1453158"/>
                </a:cubicBezTo>
                <a:cubicBezTo>
                  <a:pt x="3688942" y="1535756"/>
                  <a:pt x="3568956" y="1654886"/>
                  <a:pt x="3487161" y="1577001"/>
                </a:cubicBezTo>
                <a:cubicBezTo>
                  <a:pt x="3408580" y="1502170"/>
                  <a:pt x="3395457" y="1404039"/>
                  <a:pt x="3394440" y="1364507"/>
                </a:cubicBezTo>
                <a:close/>
                <a:moveTo>
                  <a:pt x="2440492" y="1364453"/>
                </a:moveTo>
                <a:cubicBezTo>
                  <a:pt x="2544730" y="1367239"/>
                  <a:pt x="2613080" y="1405056"/>
                  <a:pt x="2657914" y="1453104"/>
                </a:cubicBezTo>
                <a:lnTo>
                  <a:pt x="2657968" y="1453104"/>
                </a:lnTo>
                <a:cubicBezTo>
                  <a:pt x="2734994" y="1535702"/>
                  <a:pt x="2615009" y="1654832"/>
                  <a:pt x="2533214" y="1576948"/>
                </a:cubicBezTo>
                <a:cubicBezTo>
                  <a:pt x="2454633" y="1502116"/>
                  <a:pt x="2441510" y="1403985"/>
                  <a:pt x="2440492" y="1364453"/>
                </a:cubicBezTo>
                <a:close/>
                <a:moveTo>
                  <a:pt x="1486598" y="1364400"/>
                </a:moveTo>
                <a:cubicBezTo>
                  <a:pt x="1590890" y="1367185"/>
                  <a:pt x="1659239" y="1405002"/>
                  <a:pt x="1704073" y="1453051"/>
                </a:cubicBezTo>
                <a:cubicBezTo>
                  <a:pt x="1781102" y="1535648"/>
                  <a:pt x="1661114" y="1654779"/>
                  <a:pt x="1579320" y="1576894"/>
                </a:cubicBezTo>
                <a:cubicBezTo>
                  <a:pt x="1500739" y="1502063"/>
                  <a:pt x="1487669" y="1403931"/>
                  <a:pt x="1486598" y="1364400"/>
                </a:cubicBezTo>
                <a:close/>
                <a:moveTo>
                  <a:pt x="532651" y="1364346"/>
                </a:moveTo>
                <a:cubicBezTo>
                  <a:pt x="636889" y="1367132"/>
                  <a:pt x="705238" y="1404949"/>
                  <a:pt x="750072" y="1452997"/>
                </a:cubicBezTo>
                <a:lnTo>
                  <a:pt x="750126" y="1452997"/>
                </a:lnTo>
                <a:cubicBezTo>
                  <a:pt x="827153" y="1535595"/>
                  <a:pt x="707167" y="1654725"/>
                  <a:pt x="625373" y="1576840"/>
                </a:cubicBezTo>
                <a:cubicBezTo>
                  <a:pt x="546792" y="1502010"/>
                  <a:pt x="533722" y="1403878"/>
                  <a:pt x="532651" y="1364346"/>
                </a:cubicBezTo>
                <a:close/>
                <a:moveTo>
                  <a:pt x="5034936" y="1360007"/>
                </a:moveTo>
                <a:cubicBezTo>
                  <a:pt x="5032150" y="1464299"/>
                  <a:pt x="4994332" y="1532649"/>
                  <a:pt x="4946284" y="1577483"/>
                </a:cubicBezTo>
                <a:cubicBezTo>
                  <a:pt x="4863688" y="1654510"/>
                  <a:pt x="4744557" y="1534524"/>
                  <a:pt x="4822442" y="1452729"/>
                </a:cubicBezTo>
                <a:cubicBezTo>
                  <a:pt x="4897272" y="1374149"/>
                  <a:pt x="4995404" y="1361079"/>
                  <a:pt x="5034936" y="1360007"/>
                </a:cubicBezTo>
                <a:close/>
                <a:moveTo>
                  <a:pt x="4080988" y="1359954"/>
                </a:moveTo>
                <a:cubicBezTo>
                  <a:pt x="4078203" y="1464246"/>
                  <a:pt x="4040385" y="1532595"/>
                  <a:pt x="3992338" y="1577430"/>
                </a:cubicBezTo>
                <a:cubicBezTo>
                  <a:pt x="3909739" y="1654457"/>
                  <a:pt x="3790610" y="1534470"/>
                  <a:pt x="3868494" y="1452676"/>
                </a:cubicBezTo>
                <a:cubicBezTo>
                  <a:pt x="3943324" y="1374095"/>
                  <a:pt x="4041457" y="1361026"/>
                  <a:pt x="4080988" y="1359954"/>
                </a:cubicBezTo>
                <a:close/>
                <a:moveTo>
                  <a:pt x="3127094" y="1359900"/>
                </a:moveTo>
                <a:cubicBezTo>
                  <a:pt x="3124309" y="1464192"/>
                  <a:pt x="3086491" y="1532542"/>
                  <a:pt x="3038443" y="1577376"/>
                </a:cubicBezTo>
                <a:cubicBezTo>
                  <a:pt x="2955845" y="1654403"/>
                  <a:pt x="2836716" y="1534416"/>
                  <a:pt x="2914600" y="1452623"/>
                </a:cubicBezTo>
                <a:cubicBezTo>
                  <a:pt x="2989431" y="1374042"/>
                  <a:pt x="3087562" y="1360972"/>
                  <a:pt x="3127094" y="1359900"/>
                </a:cubicBezTo>
                <a:close/>
                <a:moveTo>
                  <a:pt x="2173200" y="1359847"/>
                </a:moveTo>
                <a:cubicBezTo>
                  <a:pt x="2170414" y="1464138"/>
                  <a:pt x="2132598" y="1532488"/>
                  <a:pt x="2084549" y="1577322"/>
                </a:cubicBezTo>
                <a:cubicBezTo>
                  <a:pt x="2001952" y="1654349"/>
                  <a:pt x="1882822" y="1534363"/>
                  <a:pt x="1960706" y="1452569"/>
                </a:cubicBezTo>
                <a:cubicBezTo>
                  <a:pt x="2035537" y="1373988"/>
                  <a:pt x="2133670" y="1360918"/>
                  <a:pt x="2173200" y="1359847"/>
                </a:cubicBezTo>
                <a:close/>
                <a:moveTo>
                  <a:pt x="1219253" y="1359794"/>
                </a:moveTo>
                <a:cubicBezTo>
                  <a:pt x="1216467" y="1464085"/>
                  <a:pt x="1178650" y="1532434"/>
                  <a:pt x="1130602" y="1577269"/>
                </a:cubicBezTo>
                <a:cubicBezTo>
                  <a:pt x="1048004" y="1654296"/>
                  <a:pt x="928874" y="1534309"/>
                  <a:pt x="1006759" y="1452515"/>
                </a:cubicBezTo>
                <a:cubicBezTo>
                  <a:pt x="1081590" y="1373934"/>
                  <a:pt x="1179721" y="1360865"/>
                  <a:pt x="1219253" y="1359794"/>
                </a:cubicBezTo>
                <a:close/>
                <a:moveTo>
                  <a:pt x="265359" y="1359740"/>
                </a:moveTo>
                <a:cubicBezTo>
                  <a:pt x="262573" y="1464032"/>
                  <a:pt x="224756" y="1532381"/>
                  <a:pt x="176708" y="1577216"/>
                </a:cubicBezTo>
                <a:cubicBezTo>
                  <a:pt x="94110" y="1654242"/>
                  <a:pt x="-25020" y="1534255"/>
                  <a:pt x="52865" y="1452462"/>
                </a:cubicBezTo>
                <a:cubicBezTo>
                  <a:pt x="127696" y="1373880"/>
                  <a:pt x="225827" y="1360811"/>
                  <a:pt x="265359" y="1359740"/>
                </a:cubicBezTo>
                <a:close/>
                <a:moveTo>
                  <a:pt x="4560669" y="1117882"/>
                </a:moveTo>
                <a:cubicBezTo>
                  <a:pt x="4582013" y="1121199"/>
                  <a:pt x="4602689" y="1133252"/>
                  <a:pt x="4618304" y="1156780"/>
                </a:cubicBezTo>
                <a:cubicBezTo>
                  <a:pt x="4678350" y="1247199"/>
                  <a:pt x="4669298" y="1345813"/>
                  <a:pt x="4661530" y="1384541"/>
                </a:cubicBezTo>
                <a:cubicBezTo>
                  <a:pt x="4560452" y="1358668"/>
                  <a:pt x="4502228" y="1306603"/>
                  <a:pt x="4469178" y="1249824"/>
                </a:cubicBezTo>
                <a:cubicBezTo>
                  <a:pt x="4426593" y="1176586"/>
                  <a:pt x="4496636" y="1107928"/>
                  <a:pt x="4560669" y="1117882"/>
                </a:cubicBezTo>
                <a:close/>
                <a:moveTo>
                  <a:pt x="3606775" y="1117828"/>
                </a:moveTo>
                <a:cubicBezTo>
                  <a:pt x="3628119" y="1121146"/>
                  <a:pt x="3648796" y="1133198"/>
                  <a:pt x="3664410" y="1156726"/>
                </a:cubicBezTo>
                <a:cubicBezTo>
                  <a:pt x="3724350" y="1247145"/>
                  <a:pt x="3715350" y="1345759"/>
                  <a:pt x="3707583" y="1384487"/>
                </a:cubicBezTo>
                <a:cubicBezTo>
                  <a:pt x="3606505" y="1358614"/>
                  <a:pt x="3548279" y="1306549"/>
                  <a:pt x="3515230" y="1249770"/>
                </a:cubicBezTo>
                <a:lnTo>
                  <a:pt x="3515284" y="1249770"/>
                </a:lnTo>
                <a:cubicBezTo>
                  <a:pt x="3472698" y="1176532"/>
                  <a:pt x="3542742" y="1107875"/>
                  <a:pt x="3606775" y="1117828"/>
                </a:cubicBezTo>
                <a:close/>
                <a:moveTo>
                  <a:pt x="2652773" y="1117774"/>
                </a:moveTo>
                <a:cubicBezTo>
                  <a:pt x="2674118" y="1121092"/>
                  <a:pt x="2694794" y="1133144"/>
                  <a:pt x="2710409" y="1156673"/>
                </a:cubicBezTo>
                <a:cubicBezTo>
                  <a:pt x="2770402" y="1247091"/>
                  <a:pt x="2761349" y="1345706"/>
                  <a:pt x="2753582" y="1384434"/>
                </a:cubicBezTo>
                <a:cubicBezTo>
                  <a:pt x="2652504" y="1358562"/>
                  <a:pt x="2594278" y="1306496"/>
                  <a:pt x="2561229" y="1249716"/>
                </a:cubicBezTo>
                <a:lnTo>
                  <a:pt x="2561282" y="1249716"/>
                </a:lnTo>
                <a:cubicBezTo>
                  <a:pt x="2518697" y="1176478"/>
                  <a:pt x="2588740" y="1107821"/>
                  <a:pt x="2652773" y="1117774"/>
                </a:cubicBezTo>
                <a:close/>
                <a:moveTo>
                  <a:pt x="1698933" y="1117721"/>
                </a:moveTo>
                <a:cubicBezTo>
                  <a:pt x="1720277" y="1121038"/>
                  <a:pt x="1740954" y="1133091"/>
                  <a:pt x="1756568" y="1156619"/>
                </a:cubicBezTo>
                <a:cubicBezTo>
                  <a:pt x="1816561" y="1247038"/>
                  <a:pt x="1807563" y="1345652"/>
                  <a:pt x="1799795" y="1384380"/>
                </a:cubicBezTo>
                <a:cubicBezTo>
                  <a:pt x="1698717" y="1358508"/>
                  <a:pt x="1640492" y="1306442"/>
                  <a:pt x="1607441" y="1249663"/>
                </a:cubicBezTo>
                <a:cubicBezTo>
                  <a:pt x="1564857" y="1176425"/>
                  <a:pt x="1634900" y="1107767"/>
                  <a:pt x="1698933" y="1117721"/>
                </a:cubicBezTo>
                <a:close/>
                <a:moveTo>
                  <a:pt x="744986" y="1117667"/>
                </a:moveTo>
                <a:cubicBezTo>
                  <a:pt x="766330" y="1120985"/>
                  <a:pt x="787006" y="1133037"/>
                  <a:pt x="802620" y="1156566"/>
                </a:cubicBezTo>
                <a:cubicBezTo>
                  <a:pt x="862614" y="1246984"/>
                  <a:pt x="853614" y="1345598"/>
                  <a:pt x="845848" y="1384326"/>
                </a:cubicBezTo>
                <a:cubicBezTo>
                  <a:pt x="744770" y="1358454"/>
                  <a:pt x="686491" y="1306388"/>
                  <a:pt x="653494" y="1249609"/>
                </a:cubicBezTo>
                <a:cubicBezTo>
                  <a:pt x="610910" y="1176372"/>
                  <a:pt x="680953" y="1107714"/>
                  <a:pt x="744986" y="1117667"/>
                </a:cubicBezTo>
                <a:close/>
                <a:moveTo>
                  <a:pt x="0" y="1081352"/>
                </a:moveTo>
                <a:lnTo>
                  <a:pt x="11319" y="1085337"/>
                </a:lnTo>
                <a:cubicBezTo>
                  <a:pt x="71887" y="1113550"/>
                  <a:pt x="110836" y="1153513"/>
                  <a:pt x="135623" y="1196097"/>
                </a:cubicBezTo>
                <a:lnTo>
                  <a:pt x="135570" y="1196097"/>
                </a:lnTo>
                <a:cubicBezTo>
                  <a:pt x="185252" y="1281541"/>
                  <a:pt x="81634" y="1360750"/>
                  <a:pt x="13112" y="1316168"/>
                </a:cubicBezTo>
                <a:lnTo>
                  <a:pt x="0" y="1302880"/>
                </a:lnTo>
                <a:close/>
                <a:moveTo>
                  <a:pt x="4712954" y="1061648"/>
                </a:moveTo>
                <a:cubicBezTo>
                  <a:pt x="4814032" y="1087467"/>
                  <a:pt x="4872258" y="1139585"/>
                  <a:pt x="4905306" y="1196365"/>
                </a:cubicBezTo>
                <a:lnTo>
                  <a:pt x="4905253" y="1196365"/>
                </a:lnTo>
                <a:cubicBezTo>
                  <a:pt x="4962034" y="1294015"/>
                  <a:pt x="4818585" y="1383523"/>
                  <a:pt x="4756126" y="1289408"/>
                </a:cubicBezTo>
                <a:cubicBezTo>
                  <a:pt x="4696134" y="1198990"/>
                  <a:pt x="4705186" y="1100375"/>
                  <a:pt x="4712954" y="1061648"/>
                </a:cubicBezTo>
                <a:close/>
                <a:moveTo>
                  <a:pt x="3758952" y="1061595"/>
                </a:moveTo>
                <a:cubicBezTo>
                  <a:pt x="3860030" y="1087413"/>
                  <a:pt x="3918256" y="1139532"/>
                  <a:pt x="3951306" y="1196311"/>
                </a:cubicBezTo>
                <a:cubicBezTo>
                  <a:pt x="4008086" y="1293961"/>
                  <a:pt x="3864638" y="1383469"/>
                  <a:pt x="3802180" y="1289355"/>
                </a:cubicBezTo>
                <a:cubicBezTo>
                  <a:pt x="3742186" y="1198936"/>
                  <a:pt x="3751185" y="1100322"/>
                  <a:pt x="3758952" y="1061595"/>
                </a:cubicBezTo>
                <a:close/>
                <a:moveTo>
                  <a:pt x="2805059" y="1061541"/>
                </a:moveTo>
                <a:cubicBezTo>
                  <a:pt x="2906137" y="1087359"/>
                  <a:pt x="2964362" y="1139478"/>
                  <a:pt x="2997412" y="1196257"/>
                </a:cubicBezTo>
                <a:cubicBezTo>
                  <a:pt x="3054191" y="1293908"/>
                  <a:pt x="2910743" y="1383415"/>
                  <a:pt x="2848286" y="1289301"/>
                </a:cubicBezTo>
                <a:cubicBezTo>
                  <a:pt x="2788238" y="1198882"/>
                  <a:pt x="2797292" y="1100268"/>
                  <a:pt x="2805059" y="1061541"/>
                </a:cubicBezTo>
                <a:close/>
                <a:moveTo>
                  <a:pt x="1851111" y="1061487"/>
                </a:moveTo>
                <a:cubicBezTo>
                  <a:pt x="1952136" y="1087306"/>
                  <a:pt x="2010362" y="1139424"/>
                  <a:pt x="2043411" y="1196205"/>
                </a:cubicBezTo>
                <a:cubicBezTo>
                  <a:pt x="2100191" y="1293854"/>
                  <a:pt x="1956742" y="1383362"/>
                  <a:pt x="1894284" y="1289247"/>
                </a:cubicBezTo>
                <a:cubicBezTo>
                  <a:pt x="1834291" y="1198829"/>
                  <a:pt x="1843344" y="1100214"/>
                  <a:pt x="1851111" y="1061487"/>
                </a:cubicBezTo>
                <a:close/>
                <a:moveTo>
                  <a:pt x="897218" y="1061434"/>
                </a:moveTo>
                <a:cubicBezTo>
                  <a:pt x="998296" y="1087252"/>
                  <a:pt x="1056521" y="1139371"/>
                  <a:pt x="1089571" y="1196151"/>
                </a:cubicBezTo>
                <a:cubicBezTo>
                  <a:pt x="1146350" y="1293800"/>
                  <a:pt x="1002902" y="1383308"/>
                  <a:pt x="940444" y="1289194"/>
                </a:cubicBezTo>
                <a:cubicBezTo>
                  <a:pt x="880398" y="1198775"/>
                  <a:pt x="889450" y="1100162"/>
                  <a:pt x="897218" y="1061434"/>
                </a:cubicBezTo>
                <a:close/>
                <a:moveTo>
                  <a:pt x="4506579" y="845646"/>
                </a:moveTo>
                <a:cubicBezTo>
                  <a:pt x="4571280" y="850730"/>
                  <a:pt x="4623687" y="933560"/>
                  <a:pt x="4565274" y="994905"/>
                </a:cubicBezTo>
                <a:cubicBezTo>
                  <a:pt x="4490442" y="1073486"/>
                  <a:pt x="4392310" y="1086556"/>
                  <a:pt x="4352779" y="1087627"/>
                </a:cubicBezTo>
                <a:cubicBezTo>
                  <a:pt x="4355565" y="983335"/>
                  <a:pt x="4393382" y="914986"/>
                  <a:pt x="4441430" y="870152"/>
                </a:cubicBezTo>
                <a:cubicBezTo>
                  <a:pt x="4462080" y="850895"/>
                  <a:pt x="4485012" y="843951"/>
                  <a:pt x="4506579" y="845646"/>
                </a:cubicBezTo>
                <a:close/>
                <a:moveTo>
                  <a:pt x="3552578" y="845593"/>
                </a:moveTo>
                <a:cubicBezTo>
                  <a:pt x="3617278" y="850677"/>
                  <a:pt x="3669685" y="933506"/>
                  <a:pt x="3611273" y="994851"/>
                </a:cubicBezTo>
                <a:cubicBezTo>
                  <a:pt x="3536442" y="1073432"/>
                  <a:pt x="3438310" y="1086502"/>
                  <a:pt x="3398778" y="1087573"/>
                </a:cubicBezTo>
                <a:cubicBezTo>
                  <a:pt x="3401564" y="983282"/>
                  <a:pt x="3439381" y="914932"/>
                  <a:pt x="3487430" y="870098"/>
                </a:cubicBezTo>
                <a:cubicBezTo>
                  <a:pt x="3508079" y="850841"/>
                  <a:pt x="3531012" y="843898"/>
                  <a:pt x="3552578" y="845593"/>
                </a:cubicBezTo>
                <a:close/>
                <a:moveTo>
                  <a:pt x="2598791" y="845539"/>
                </a:moveTo>
                <a:cubicBezTo>
                  <a:pt x="2663492" y="850623"/>
                  <a:pt x="2715899" y="933452"/>
                  <a:pt x="2657485" y="994798"/>
                </a:cubicBezTo>
                <a:cubicBezTo>
                  <a:pt x="2582655" y="1073379"/>
                  <a:pt x="2484522" y="1086448"/>
                  <a:pt x="2444992" y="1087520"/>
                </a:cubicBezTo>
                <a:cubicBezTo>
                  <a:pt x="2447776" y="983228"/>
                  <a:pt x="2485594" y="914879"/>
                  <a:pt x="2533642" y="870044"/>
                </a:cubicBezTo>
                <a:cubicBezTo>
                  <a:pt x="2554292" y="850787"/>
                  <a:pt x="2577224" y="843844"/>
                  <a:pt x="2598791" y="845539"/>
                </a:cubicBezTo>
                <a:close/>
                <a:moveTo>
                  <a:pt x="1644844" y="845485"/>
                </a:moveTo>
                <a:cubicBezTo>
                  <a:pt x="1709544" y="850570"/>
                  <a:pt x="1761951" y="933399"/>
                  <a:pt x="1703538" y="994744"/>
                </a:cubicBezTo>
                <a:cubicBezTo>
                  <a:pt x="1628708" y="1073325"/>
                  <a:pt x="1530575" y="1086395"/>
                  <a:pt x="1491044" y="1087467"/>
                </a:cubicBezTo>
                <a:cubicBezTo>
                  <a:pt x="1493829" y="983175"/>
                  <a:pt x="1531646" y="914825"/>
                  <a:pt x="1579694" y="869991"/>
                </a:cubicBezTo>
                <a:cubicBezTo>
                  <a:pt x="1600344" y="850734"/>
                  <a:pt x="1623277" y="843790"/>
                  <a:pt x="1644844" y="845485"/>
                </a:cubicBezTo>
                <a:close/>
                <a:moveTo>
                  <a:pt x="4881828" y="845458"/>
                </a:moveTo>
                <a:cubicBezTo>
                  <a:pt x="4903376" y="843951"/>
                  <a:pt x="4926211" y="851109"/>
                  <a:pt x="4946660" y="870580"/>
                </a:cubicBezTo>
                <a:cubicBezTo>
                  <a:pt x="5025240" y="945410"/>
                  <a:pt x="5038310" y="1043542"/>
                  <a:pt x="5039381" y="1083074"/>
                </a:cubicBezTo>
                <a:cubicBezTo>
                  <a:pt x="4935089" y="1080289"/>
                  <a:pt x="4866740" y="1042471"/>
                  <a:pt x="4821905" y="994423"/>
                </a:cubicBezTo>
                <a:cubicBezTo>
                  <a:pt x="4764135" y="932475"/>
                  <a:pt x="4817185" y="849977"/>
                  <a:pt x="4881828" y="845458"/>
                </a:cubicBezTo>
                <a:close/>
                <a:moveTo>
                  <a:pt x="690950" y="845432"/>
                </a:moveTo>
                <a:cubicBezTo>
                  <a:pt x="755650" y="850516"/>
                  <a:pt x="808058" y="933345"/>
                  <a:pt x="749644" y="994690"/>
                </a:cubicBezTo>
                <a:cubicBezTo>
                  <a:pt x="674813" y="1073271"/>
                  <a:pt x="576682" y="1086341"/>
                  <a:pt x="537150" y="1087413"/>
                </a:cubicBezTo>
                <a:cubicBezTo>
                  <a:pt x="539936" y="983121"/>
                  <a:pt x="577753" y="914771"/>
                  <a:pt x="625801" y="869937"/>
                </a:cubicBezTo>
                <a:cubicBezTo>
                  <a:pt x="646451" y="850680"/>
                  <a:pt x="669383" y="843737"/>
                  <a:pt x="690950" y="845432"/>
                </a:cubicBezTo>
                <a:close/>
                <a:moveTo>
                  <a:pt x="3927880" y="845404"/>
                </a:moveTo>
                <a:cubicBezTo>
                  <a:pt x="3949428" y="843897"/>
                  <a:pt x="3972263" y="851055"/>
                  <a:pt x="3992712" y="870526"/>
                </a:cubicBezTo>
                <a:cubicBezTo>
                  <a:pt x="4071293" y="945357"/>
                  <a:pt x="4084363" y="1043489"/>
                  <a:pt x="4085434" y="1083021"/>
                </a:cubicBezTo>
                <a:cubicBezTo>
                  <a:pt x="3981142" y="1080235"/>
                  <a:pt x="3912792" y="1042418"/>
                  <a:pt x="3867958" y="994370"/>
                </a:cubicBezTo>
                <a:cubicBezTo>
                  <a:pt x="3810187" y="932421"/>
                  <a:pt x="3863237" y="849923"/>
                  <a:pt x="3927880" y="845404"/>
                </a:cubicBezTo>
                <a:close/>
                <a:moveTo>
                  <a:pt x="2973933" y="845350"/>
                </a:moveTo>
                <a:cubicBezTo>
                  <a:pt x="2995481" y="843844"/>
                  <a:pt x="3018316" y="851001"/>
                  <a:pt x="3038765" y="870472"/>
                </a:cubicBezTo>
                <a:cubicBezTo>
                  <a:pt x="3117345" y="945304"/>
                  <a:pt x="3130469" y="1043435"/>
                  <a:pt x="3131486" y="1082967"/>
                </a:cubicBezTo>
                <a:cubicBezTo>
                  <a:pt x="3027248" y="1080181"/>
                  <a:pt x="2958898" y="1042364"/>
                  <a:pt x="2914064" y="994316"/>
                </a:cubicBezTo>
                <a:lnTo>
                  <a:pt x="2914010" y="994316"/>
                </a:lnTo>
                <a:cubicBezTo>
                  <a:pt x="2856240" y="932368"/>
                  <a:pt x="2909290" y="849870"/>
                  <a:pt x="2973933" y="845350"/>
                </a:cubicBezTo>
                <a:close/>
                <a:moveTo>
                  <a:pt x="2020093" y="845297"/>
                </a:moveTo>
                <a:cubicBezTo>
                  <a:pt x="2041641" y="843790"/>
                  <a:pt x="2064476" y="850948"/>
                  <a:pt x="2084925" y="870419"/>
                </a:cubicBezTo>
                <a:cubicBezTo>
                  <a:pt x="2163504" y="945250"/>
                  <a:pt x="2176628" y="1043382"/>
                  <a:pt x="2177646" y="1082913"/>
                </a:cubicBezTo>
                <a:cubicBezTo>
                  <a:pt x="2073354" y="1080128"/>
                  <a:pt x="2005004" y="1042311"/>
                  <a:pt x="1960170" y="994262"/>
                </a:cubicBezTo>
                <a:cubicBezTo>
                  <a:pt x="1902400" y="932314"/>
                  <a:pt x="1955450" y="849816"/>
                  <a:pt x="2020093" y="845297"/>
                </a:cubicBezTo>
                <a:close/>
                <a:moveTo>
                  <a:pt x="1066145" y="845243"/>
                </a:moveTo>
                <a:cubicBezTo>
                  <a:pt x="1087693" y="843737"/>
                  <a:pt x="1110528" y="850894"/>
                  <a:pt x="1130976" y="870365"/>
                </a:cubicBezTo>
                <a:cubicBezTo>
                  <a:pt x="1209557" y="945197"/>
                  <a:pt x="1222628" y="1043329"/>
                  <a:pt x="1223699" y="1082860"/>
                </a:cubicBezTo>
                <a:cubicBezTo>
                  <a:pt x="1119407" y="1080074"/>
                  <a:pt x="1051057" y="1042257"/>
                  <a:pt x="1006223" y="994208"/>
                </a:cubicBezTo>
                <a:cubicBezTo>
                  <a:pt x="948453" y="932260"/>
                  <a:pt x="1001503" y="849763"/>
                  <a:pt x="1066145" y="845243"/>
                </a:cubicBezTo>
                <a:close/>
                <a:moveTo>
                  <a:pt x="112251" y="845190"/>
                </a:moveTo>
                <a:cubicBezTo>
                  <a:pt x="133799" y="843683"/>
                  <a:pt x="156634" y="850841"/>
                  <a:pt x="177083" y="870312"/>
                </a:cubicBezTo>
                <a:cubicBezTo>
                  <a:pt x="255664" y="945143"/>
                  <a:pt x="268787" y="1043275"/>
                  <a:pt x="269805" y="1082806"/>
                </a:cubicBezTo>
                <a:cubicBezTo>
                  <a:pt x="165513" y="1080020"/>
                  <a:pt x="97164" y="1042203"/>
                  <a:pt x="52329" y="994155"/>
                </a:cubicBezTo>
                <a:cubicBezTo>
                  <a:pt x="-5441" y="932207"/>
                  <a:pt x="47609" y="849709"/>
                  <a:pt x="112251" y="845190"/>
                </a:cubicBezTo>
                <a:close/>
                <a:moveTo>
                  <a:pt x="5242560" y="765193"/>
                </a:moveTo>
                <a:lnTo>
                  <a:pt x="5242560" y="934440"/>
                </a:lnTo>
                <a:lnTo>
                  <a:pt x="5206345" y="960516"/>
                </a:lnTo>
                <a:lnTo>
                  <a:pt x="5206345" y="960463"/>
                </a:lnTo>
                <a:cubicBezTo>
                  <a:pt x="5108696" y="1017242"/>
                  <a:pt x="5019187" y="873794"/>
                  <a:pt x="5113302" y="811337"/>
                </a:cubicBezTo>
                <a:cubicBezTo>
                  <a:pt x="5135906" y="796338"/>
                  <a:pt x="5159023" y="785655"/>
                  <a:pt x="5181588" y="778189"/>
                </a:cubicBezTo>
                <a:close/>
                <a:moveTo>
                  <a:pt x="4347904" y="763141"/>
                </a:moveTo>
                <a:cubicBezTo>
                  <a:pt x="4364008" y="764145"/>
                  <a:pt x="4377433" y="766167"/>
                  <a:pt x="4387115" y="768109"/>
                </a:cubicBezTo>
                <a:cubicBezTo>
                  <a:pt x="4361243" y="869187"/>
                  <a:pt x="4309177" y="927413"/>
                  <a:pt x="4252398" y="960463"/>
                </a:cubicBezTo>
                <a:lnTo>
                  <a:pt x="4252398" y="960409"/>
                </a:lnTo>
                <a:cubicBezTo>
                  <a:pt x="4154748" y="1017189"/>
                  <a:pt x="4065240" y="873740"/>
                  <a:pt x="4159354" y="811283"/>
                </a:cubicBezTo>
                <a:cubicBezTo>
                  <a:pt x="4227168" y="766288"/>
                  <a:pt x="4299592" y="760131"/>
                  <a:pt x="4347904" y="763141"/>
                </a:cubicBezTo>
                <a:close/>
                <a:moveTo>
                  <a:pt x="3394011" y="763088"/>
                </a:moveTo>
                <a:cubicBezTo>
                  <a:pt x="3410115" y="764092"/>
                  <a:pt x="3423540" y="766114"/>
                  <a:pt x="3433222" y="768055"/>
                </a:cubicBezTo>
                <a:cubicBezTo>
                  <a:pt x="3407348" y="869133"/>
                  <a:pt x="3355283" y="927359"/>
                  <a:pt x="3298504" y="960409"/>
                </a:cubicBezTo>
                <a:lnTo>
                  <a:pt x="3298504" y="960356"/>
                </a:lnTo>
                <a:cubicBezTo>
                  <a:pt x="3200854" y="1017135"/>
                  <a:pt x="3111346" y="873687"/>
                  <a:pt x="3205460" y="811229"/>
                </a:cubicBezTo>
                <a:cubicBezTo>
                  <a:pt x="3273274" y="766234"/>
                  <a:pt x="3345698" y="760078"/>
                  <a:pt x="3394011" y="763088"/>
                </a:cubicBezTo>
                <a:close/>
                <a:moveTo>
                  <a:pt x="2440116" y="763035"/>
                </a:moveTo>
                <a:cubicBezTo>
                  <a:pt x="2456220" y="764038"/>
                  <a:pt x="2469645" y="766060"/>
                  <a:pt x="2479326" y="768002"/>
                </a:cubicBezTo>
                <a:cubicBezTo>
                  <a:pt x="2453508" y="869080"/>
                  <a:pt x="2401390" y="927305"/>
                  <a:pt x="2344610" y="960356"/>
                </a:cubicBezTo>
                <a:lnTo>
                  <a:pt x="2344610" y="960302"/>
                </a:lnTo>
                <a:cubicBezTo>
                  <a:pt x="2246960" y="1017081"/>
                  <a:pt x="2157452" y="873633"/>
                  <a:pt x="2251567" y="811176"/>
                </a:cubicBezTo>
                <a:cubicBezTo>
                  <a:pt x="2319381" y="766181"/>
                  <a:pt x="2391805" y="760024"/>
                  <a:pt x="2440116" y="763035"/>
                </a:cubicBezTo>
                <a:close/>
                <a:moveTo>
                  <a:pt x="1486168" y="762981"/>
                </a:moveTo>
                <a:cubicBezTo>
                  <a:pt x="1502272" y="763984"/>
                  <a:pt x="1515697" y="766006"/>
                  <a:pt x="1525379" y="767948"/>
                </a:cubicBezTo>
                <a:cubicBezTo>
                  <a:pt x="1499507" y="869026"/>
                  <a:pt x="1447442" y="927252"/>
                  <a:pt x="1390663" y="960302"/>
                </a:cubicBezTo>
                <a:lnTo>
                  <a:pt x="1390663" y="960248"/>
                </a:lnTo>
                <a:cubicBezTo>
                  <a:pt x="1293012" y="1017028"/>
                  <a:pt x="1203505" y="873579"/>
                  <a:pt x="1297619" y="811122"/>
                </a:cubicBezTo>
                <a:cubicBezTo>
                  <a:pt x="1365434" y="766127"/>
                  <a:pt x="1437857" y="759971"/>
                  <a:pt x="1486168" y="762981"/>
                </a:cubicBezTo>
                <a:close/>
                <a:moveTo>
                  <a:pt x="532275" y="762927"/>
                </a:moveTo>
                <a:cubicBezTo>
                  <a:pt x="548379" y="763931"/>
                  <a:pt x="561804" y="765953"/>
                  <a:pt x="571486" y="767894"/>
                </a:cubicBezTo>
                <a:cubicBezTo>
                  <a:pt x="545667" y="868972"/>
                  <a:pt x="493547" y="927198"/>
                  <a:pt x="436768" y="960248"/>
                </a:cubicBezTo>
                <a:lnTo>
                  <a:pt x="436768" y="960195"/>
                </a:lnTo>
                <a:cubicBezTo>
                  <a:pt x="339119" y="1016974"/>
                  <a:pt x="249611" y="873526"/>
                  <a:pt x="343726" y="811068"/>
                </a:cubicBezTo>
                <a:cubicBezTo>
                  <a:pt x="411539" y="766073"/>
                  <a:pt x="483963" y="759917"/>
                  <a:pt x="532275" y="762927"/>
                </a:cubicBezTo>
                <a:close/>
                <a:moveTo>
                  <a:pt x="9965" y="605938"/>
                </a:moveTo>
                <a:cubicBezTo>
                  <a:pt x="91228" y="596211"/>
                  <a:pt x="149463" y="712870"/>
                  <a:pt x="67113" y="767520"/>
                </a:cubicBezTo>
                <a:lnTo>
                  <a:pt x="0" y="800128"/>
                </a:lnTo>
                <a:lnTo>
                  <a:pt x="0" y="609395"/>
                </a:lnTo>
                <a:close/>
                <a:moveTo>
                  <a:pt x="4779809" y="605080"/>
                </a:moveTo>
                <a:cubicBezTo>
                  <a:pt x="4861073" y="595353"/>
                  <a:pt x="4919308" y="712012"/>
                  <a:pt x="4836957" y="766662"/>
                </a:cubicBezTo>
                <a:cubicBezTo>
                  <a:pt x="4746538" y="826709"/>
                  <a:pt x="4647925" y="817657"/>
                  <a:pt x="4609197" y="809890"/>
                </a:cubicBezTo>
                <a:cubicBezTo>
                  <a:pt x="4635069" y="708812"/>
                  <a:pt x="4687135" y="650586"/>
                  <a:pt x="4743914" y="617536"/>
                </a:cubicBezTo>
                <a:cubicBezTo>
                  <a:pt x="4756120" y="610439"/>
                  <a:pt x="4768200" y="606470"/>
                  <a:pt x="4779809" y="605080"/>
                </a:cubicBezTo>
                <a:close/>
                <a:moveTo>
                  <a:pt x="3825808" y="605027"/>
                </a:moveTo>
                <a:cubicBezTo>
                  <a:pt x="3907071" y="595300"/>
                  <a:pt x="3965308" y="711959"/>
                  <a:pt x="3882957" y="766609"/>
                </a:cubicBezTo>
                <a:cubicBezTo>
                  <a:pt x="3792538" y="826656"/>
                  <a:pt x="3693924" y="817604"/>
                  <a:pt x="3655196" y="809836"/>
                </a:cubicBezTo>
                <a:cubicBezTo>
                  <a:pt x="3681068" y="708758"/>
                  <a:pt x="3733134" y="650533"/>
                  <a:pt x="3789914" y="617483"/>
                </a:cubicBezTo>
                <a:cubicBezTo>
                  <a:pt x="3802120" y="610386"/>
                  <a:pt x="3814199" y="606417"/>
                  <a:pt x="3825808" y="605027"/>
                </a:cubicBezTo>
                <a:close/>
                <a:moveTo>
                  <a:pt x="2871967" y="604974"/>
                </a:moveTo>
                <a:cubicBezTo>
                  <a:pt x="2953231" y="595246"/>
                  <a:pt x="3011466" y="711905"/>
                  <a:pt x="2929116" y="766556"/>
                </a:cubicBezTo>
                <a:cubicBezTo>
                  <a:pt x="2838698" y="826602"/>
                  <a:pt x="2740083" y="817550"/>
                  <a:pt x="2701356" y="809783"/>
                </a:cubicBezTo>
                <a:cubicBezTo>
                  <a:pt x="2727228" y="708705"/>
                  <a:pt x="2779293" y="650479"/>
                  <a:pt x="2836073" y="617430"/>
                </a:cubicBezTo>
                <a:cubicBezTo>
                  <a:pt x="2848279" y="610332"/>
                  <a:pt x="2860358" y="606363"/>
                  <a:pt x="2871967" y="604974"/>
                </a:cubicBezTo>
                <a:close/>
                <a:moveTo>
                  <a:pt x="1917912" y="604920"/>
                </a:moveTo>
                <a:cubicBezTo>
                  <a:pt x="1999176" y="595193"/>
                  <a:pt x="2057412" y="711852"/>
                  <a:pt x="1975061" y="766502"/>
                </a:cubicBezTo>
                <a:cubicBezTo>
                  <a:pt x="1884642" y="826549"/>
                  <a:pt x="1786029" y="817496"/>
                  <a:pt x="1747301" y="809729"/>
                </a:cubicBezTo>
                <a:cubicBezTo>
                  <a:pt x="1773173" y="708651"/>
                  <a:pt x="1825239" y="650425"/>
                  <a:pt x="1882018" y="617376"/>
                </a:cubicBezTo>
                <a:cubicBezTo>
                  <a:pt x="1894224" y="610279"/>
                  <a:pt x="1906303" y="606310"/>
                  <a:pt x="1917912" y="604920"/>
                </a:cubicBezTo>
                <a:close/>
                <a:moveTo>
                  <a:pt x="963912" y="604867"/>
                </a:moveTo>
                <a:cubicBezTo>
                  <a:pt x="1045175" y="595140"/>
                  <a:pt x="1103411" y="711799"/>
                  <a:pt x="1021060" y="766449"/>
                </a:cubicBezTo>
                <a:cubicBezTo>
                  <a:pt x="930643" y="826496"/>
                  <a:pt x="832082" y="817443"/>
                  <a:pt x="793300" y="809675"/>
                </a:cubicBezTo>
                <a:cubicBezTo>
                  <a:pt x="819119" y="708597"/>
                  <a:pt x="871238" y="650372"/>
                  <a:pt x="928018" y="617322"/>
                </a:cubicBezTo>
                <a:cubicBezTo>
                  <a:pt x="940224" y="610225"/>
                  <a:pt x="952303" y="606256"/>
                  <a:pt x="963912" y="604867"/>
                </a:cubicBezTo>
                <a:close/>
                <a:moveTo>
                  <a:pt x="127643" y="492514"/>
                </a:moveTo>
                <a:cubicBezTo>
                  <a:pt x="231935" y="495300"/>
                  <a:pt x="300283" y="533117"/>
                  <a:pt x="345118" y="581166"/>
                </a:cubicBezTo>
                <a:cubicBezTo>
                  <a:pt x="422146" y="663763"/>
                  <a:pt x="302158" y="782893"/>
                  <a:pt x="220364" y="705009"/>
                </a:cubicBezTo>
                <a:cubicBezTo>
                  <a:pt x="141783" y="630177"/>
                  <a:pt x="128660" y="532046"/>
                  <a:pt x="127643" y="492514"/>
                </a:cubicBezTo>
                <a:close/>
                <a:moveTo>
                  <a:pt x="4897486" y="491658"/>
                </a:moveTo>
                <a:cubicBezTo>
                  <a:pt x="5001779" y="494443"/>
                  <a:pt x="5070128" y="532260"/>
                  <a:pt x="5114962" y="580308"/>
                </a:cubicBezTo>
                <a:cubicBezTo>
                  <a:pt x="5191990" y="662907"/>
                  <a:pt x="5072002" y="782036"/>
                  <a:pt x="4990208" y="704151"/>
                </a:cubicBezTo>
                <a:cubicBezTo>
                  <a:pt x="4911628" y="629321"/>
                  <a:pt x="4898504" y="531189"/>
                  <a:pt x="4897486" y="491658"/>
                </a:cubicBezTo>
                <a:close/>
                <a:moveTo>
                  <a:pt x="3943540" y="491604"/>
                </a:moveTo>
                <a:cubicBezTo>
                  <a:pt x="4047778" y="494389"/>
                  <a:pt x="4116128" y="532207"/>
                  <a:pt x="4160962" y="580254"/>
                </a:cubicBezTo>
                <a:lnTo>
                  <a:pt x="4161016" y="580254"/>
                </a:lnTo>
                <a:cubicBezTo>
                  <a:pt x="4238042" y="662853"/>
                  <a:pt x="4118055" y="781982"/>
                  <a:pt x="4036261" y="704098"/>
                </a:cubicBezTo>
                <a:cubicBezTo>
                  <a:pt x="3957680" y="629267"/>
                  <a:pt x="3944556" y="531135"/>
                  <a:pt x="3943540" y="491604"/>
                </a:cubicBezTo>
                <a:close/>
                <a:moveTo>
                  <a:pt x="2989592" y="491551"/>
                </a:moveTo>
                <a:cubicBezTo>
                  <a:pt x="3093883" y="494335"/>
                  <a:pt x="3162233" y="532153"/>
                  <a:pt x="3207067" y="580201"/>
                </a:cubicBezTo>
                <a:cubicBezTo>
                  <a:pt x="3284094" y="662799"/>
                  <a:pt x="3164108" y="781929"/>
                  <a:pt x="3082314" y="704045"/>
                </a:cubicBezTo>
                <a:cubicBezTo>
                  <a:pt x="3003732" y="629214"/>
                  <a:pt x="2990663" y="531081"/>
                  <a:pt x="2989592" y="491551"/>
                </a:cubicBezTo>
                <a:close/>
                <a:moveTo>
                  <a:pt x="2035537" y="491497"/>
                </a:moveTo>
                <a:cubicBezTo>
                  <a:pt x="2139829" y="494283"/>
                  <a:pt x="2208178" y="532100"/>
                  <a:pt x="2253012" y="580148"/>
                </a:cubicBezTo>
                <a:cubicBezTo>
                  <a:pt x="2330040" y="662746"/>
                  <a:pt x="2210053" y="781875"/>
                  <a:pt x="2128259" y="703992"/>
                </a:cubicBezTo>
                <a:cubicBezTo>
                  <a:pt x="2049678" y="629160"/>
                  <a:pt x="2036608" y="531028"/>
                  <a:pt x="2035537" y="491497"/>
                </a:cubicBezTo>
                <a:close/>
                <a:moveTo>
                  <a:pt x="1081590" y="491443"/>
                </a:moveTo>
                <a:cubicBezTo>
                  <a:pt x="1185882" y="494229"/>
                  <a:pt x="1254231" y="532046"/>
                  <a:pt x="1299065" y="580094"/>
                </a:cubicBezTo>
                <a:cubicBezTo>
                  <a:pt x="1376093" y="662692"/>
                  <a:pt x="1256106" y="781821"/>
                  <a:pt x="1174311" y="703938"/>
                </a:cubicBezTo>
                <a:cubicBezTo>
                  <a:pt x="1095731" y="629106"/>
                  <a:pt x="1082661" y="530974"/>
                  <a:pt x="1081590" y="491443"/>
                </a:cubicBezTo>
                <a:close/>
                <a:moveTo>
                  <a:pt x="4630142" y="487051"/>
                </a:moveTo>
                <a:cubicBezTo>
                  <a:pt x="4627356" y="591343"/>
                  <a:pt x="4589538" y="659693"/>
                  <a:pt x="4541490" y="704527"/>
                </a:cubicBezTo>
                <a:cubicBezTo>
                  <a:pt x="4458892" y="781554"/>
                  <a:pt x="4339763" y="661567"/>
                  <a:pt x="4417646" y="579773"/>
                </a:cubicBezTo>
                <a:cubicBezTo>
                  <a:pt x="4492478" y="501193"/>
                  <a:pt x="4590610" y="488068"/>
                  <a:pt x="4630142" y="487051"/>
                </a:cubicBezTo>
                <a:close/>
                <a:moveTo>
                  <a:pt x="3676248" y="486997"/>
                </a:moveTo>
                <a:cubicBezTo>
                  <a:pt x="3673462" y="591289"/>
                  <a:pt x="3635644" y="659639"/>
                  <a:pt x="3587596" y="704473"/>
                </a:cubicBezTo>
                <a:cubicBezTo>
                  <a:pt x="3504998" y="781500"/>
                  <a:pt x="3385868" y="661514"/>
                  <a:pt x="3463753" y="579719"/>
                </a:cubicBezTo>
                <a:cubicBezTo>
                  <a:pt x="3538584" y="501139"/>
                  <a:pt x="3636716" y="488015"/>
                  <a:pt x="3676248" y="486997"/>
                </a:cubicBezTo>
                <a:close/>
                <a:moveTo>
                  <a:pt x="2722246" y="486944"/>
                </a:moveTo>
                <a:cubicBezTo>
                  <a:pt x="2719460" y="591236"/>
                  <a:pt x="2681644" y="659585"/>
                  <a:pt x="2633595" y="704420"/>
                </a:cubicBezTo>
                <a:cubicBezTo>
                  <a:pt x="2550998" y="781447"/>
                  <a:pt x="2431868" y="661460"/>
                  <a:pt x="2509752" y="579665"/>
                </a:cubicBezTo>
                <a:cubicBezTo>
                  <a:pt x="2584583" y="501085"/>
                  <a:pt x="2682714" y="487962"/>
                  <a:pt x="2722246" y="486944"/>
                </a:cubicBezTo>
                <a:close/>
                <a:moveTo>
                  <a:pt x="1768192" y="486890"/>
                </a:moveTo>
                <a:cubicBezTo>
                  <a:pt x="1765406" y="591182"/>
                  <a:pt x="1727589" y="659532"/>
                  <a:pt x="1679540" y="704366"/>
                </a:cubicBezTo>
                <a:cubicBezTo>
                  <a:pt x="1596943" y="781393"/>
                  <a:pt x="1477814" y="661407"/>
                  <a:pt x="1555697" y="579612"/>
                </a:cubicBezTo>
                <a:cubicBezTo>
                  <a:pt x="1630528" y="501032"/>
                  <a:pt x="1728661" y="487908"/>
                  <a:pt x="1768192" y="486890"/>
                </a:cubicBezTo>
                <a:close/>
                <a:moveTo>
                  <a:pt x="814244" y="486836"/>
                </a:moveTo>
                <a:cubicBezTo>
                  <a:pt x="811459" y="591128"/>
                  <a:pt x="773642" y="659478"/>
                  <a:pt x="725593" y="704312"/>
                </a:cubicBezTo>
                <a:cubicBezTo>
                  <a:pt x="642996" y="781339"/>
                  <a:pt x="523865" y="661353"/>
                  <a:pt x="601750" y="579559"/>
                </a:cubicBezTo>
                <a:cubicBezTo>
                  <a:pt x="676581" y="500978"/>
                  <a:pt x="774713" y="487855"/>
                  <a:pt x="814244" y="486836"/>
                </a:cubicBezTo>
                <a:close/>
                <a:moveTo>
                  <a:pt x="339977" y="245835"/>
                </a:moveTo>
                <a:cubicBezTo>
                  <a:pt x="361321" y="249153"/>
                  <a:pt x="381998" y="261205"/>
                  <a:pt x="397612" y="284734"/>
                </a:cubicBezTo>
                <a:cubicBezTo>
                  <a:pt x="457605" y="375153"/>
                  <a:pt x="448553" y="473767"/>
                  <a:pt x="440786" y="512495"/>
                </a:cubicBezTo>
                <a:cubicBezTo>
                  <a:pt x="339762" y="486676"/>
                  <a:pt x="281482" y="434557"/>
                  <a:pt x="248485" y="377777"/>
                </a:cubicBezTo>
                <a:cubicBezTo>
                  <a:pt x="205901" y="304540"/>
                  <a:pt x="275945" y="235882"/>
                  <a:pt x="339977" y="245835"/>
                </a:cubicBezTo>
                <a:close/>
                <a:moveTo>
                  <a:pt x="5109822" y="244979"/>
                </a:moveTo>
                <a:cubicBezTo>
                  <a:pt x="5131166" y="248296"/>
                  <a:pt x="5151842" y="260349"/>
                  <a:pt x="5167457" y="283878"/>
                </a:cubicBezTo>
                <a:cubicBezTo>
                  <a:pt x="5227450" y="374295"/>
                  <a:pt x="5218398" y="472909"/>
                  <a:pt x="5210630" y="511637"/>
                </a:cubicBezTo>
                <a:cubicBezTo>
                  <a:pt x="5109552" y="485819"/>
                  <a:pt x="5051326" y="433699"/>
                  <a:pt x="5018277" y="376920"/>
                </a:cubicBezTo>
                <a:lnTo>
                  <a:pt x="5018330" y="376920"/>
                </a:lnTo>
                <a:cubicBezTo>
                  <a:pt x="4975745" y="303683"/>
                  <a:pt x="5045789" y="235025"/>
                  <a:pt x="5109822" y="244979"/>
                </a:cubicBezTo>
                <a:close/>
                <a:moveTo>
                  <a:pt x="4155820" y="244925"/>
                </a:moveTo>
                <a:cubicBezTo>
                  <a:pt x="4177165" y="248243"/>
                  <a:pt x="4197841" y="260295"/>
                  <a:pt x="4213455" y="283824"/>
                </a:cubicBezTo>
                <a:cubicBezTo>
                  <a:pt x="4273449" y="374241"/>
                  <a:pt x="4264396" y="472856"/>
                  <a:pt x="4256629" y="511584"/>
                </a:cubicBezTo>
                <a:cubicBezTo>
                  <a:pt x="4155551" y="485765"/>
                  <a:pt x="4097325" y="433647"/>
                  <a:pt x="4064276" y="376866"/>
                </a:cubicBezTo>
                <a:lnTo>
                  <a:pt x="4064330" y="376866"/>
                </a:lnTo>
                <a:cubicBezTo>
                  <a:pt x="4021745" y="303629"/>
                  <a:pt x="4091788" y="234972"/>
                  <a:pt x="4155820" y="244925"/>
                </a:cubicBezTo>
                <a:close/>
                <a:moveTo>
                  <a:pt x="3201980" y="244872"/>
                </a:moveTo>
                <a:cubicBezTo>
                  <a:pt x="3223324" y="248189"/>
                  <a:pt x="3244001" y="260242"/>
                  <a:pt x="3259615" y="283770"/>
                </a:cubicBezTo>
                <a:cubicBezTo>
                  <a:pt x="3319608" y="374189"/>
                  <a:pt x="3310609" y="472803"/>
                  <a:pt x="3302842" y="511530"/>
                </a:cubicBezTo>
                <a:cubicBezTo>
                  <a:pt x="3201764" y="485712"/>
                  <a:pt x="3143539" y="433593"/>
                  <a:pt x="3110488" y="376813"/>
                </a:cubicBezTo>
                <a:cubicBezTo>
                  <a:pt x="3067904" y="303576"/>
                  <a:pt x="3137948" y="234918"/>
                  <a:pt x="3201980" y="244872"/>
                </a:cubicBezTo>
                <a:close/>
                <a:moveTo>
                  <a:pt x="2247925" y="244818"/>
                </a:moveTo>
                <a:cubicBezTo>
                  <a:pt x="2269270" y="248136"/>
                  <a:pt x="2289946" y="260188"/>
                  <a:pt x="2305560" y="283717"/>
                </a:cubicBezTo>
                <a:cubicBezTo>
                  <a:pt x="2365607" y="374135"/>
                  <a:pt x="2356555" y="472749"/>
                  <a:pt x="2348788" y="511476"/>
                </a:cubicBezTo>
                <a:cubicBezTo>
                  <a:pt x="2247710" y="485658"/>
                  <a:pt x="2189484" y="433539"/>
                  <a:pt x="2156435" y="376760"/>
                </a:cubicBezTo>
                <a:cubicBezTo>
                  <a:pt x="2113849" y="303522"/>
                  <a:pt x="2183893" y="234865"/>
                  <a:pt x="2247925" y="244818"/>
                </a:cubicBezTo>
                <a:close/>
                <a:moveTo>
                  <a:pt x="1293925" y="244764"/>
                </a:moveTo>
                <a:cubicBezTo>
                  <a:pt x="1315269" y="248082"/>
                  <a:pt x="1335945" y="260134"/>
                  <a:pt x="1351559" y="283663"/>
                </a:cubicBezTo>
                <a:cubicBezTo>
                  <a:pt x="1411606" y="374082"/>
                  <a:pt x="1402554" y="472696"/>
                  <a:pt x="1394787" y="511423"/>
                </a:cubicBezTo>
                <a:cubicBezTo>
                  <a:pt x="1293709" y="485604"/>
                  <a:pt x="1235483" y="433486"/>
                  <a:pt x="1202433" y="376706"/>
                </a:cubicBezTo>
                <a:cubicBezTo>
                  <a:pt x="1159849" y="303469"/>
                  <a:pt x="1229892" y="234811"/>
                  <a:pt x="1293925" y="244764"/>
                </a:cubicBezTo>
                <a:close/>
                <a:moveTo>
                  <a:pt x="4308106" y="188691"/>
                </a:moveTo>
                <a:cubicBezTo>
                  <a:pt x="4409184" y="214563"/>
                  <a:pt x="4467410" y="266629"/>
                  <a:pt x="4500459" y="323408"/>
                </a:cubicBezTo>
                <a:cubicBezTo>
                  <a:pt x="4557238" y="421058"/>
                  <a:pt x="4413790" y="510566"/>
                  <a:pt x="4351332" y="416452"/>
                </a:cubicBezTo>
                <a:cubicBezTo>
                  <a:pt x="4291286" y="326033"/>
                  <a:pt x="4300338" y="227419"/>
                  <a:pt x="4308106" y="188691"/>
                </a:cubicBezTo>
                <a:close/>
                <a:moveTo>
                  <a:pt x="3354105" y="188637"/>
                </a:moveTo>
                <a:cubicBezTo>
                  <a:pt x="3455183" y="214509"/>
                  <a:pt x="3513408" y="266576"/>
                  <a:pt x="3546458" y="323355"/>
                </a:cubicBezTo>
                <a:cubicBezTo>
                  <a:pt x="3603237" y="421004"/>
                  <a:pt x="3459789" y="510513"/>
                  <a:pt x="3397332" y="416398"/>
                </a:cubicBezTo>
                <a:cubicBezTo>
                  <a:pt x="3337338" y="325980"/>
                  <a:pt x="3346338" y="227366"/>
                  <a:pt x="3354105" y="188637"/>
                </a:cubicBezTo>
                <a:close/>
                <a:moveTo>
                  <a:pt x="2400264" y="188584"/>
                </a:moveTo>
                <a:cubicBezTo>
                  <a:pt x="2501342" y="214456"/>
                  <a:pt x="2559568" y="266522"/>
                  <a:pt x="2592618" y="323301"/>
                </a:cubicBezTo>
                <a:lnTo>
                  <a:pt x="2592564" y="323301"/>
                </a:lnTo>
                <a:cubicBezTo>
                  <a:pt x="2649344" y="420951"/>
                  <a:pt x="2505895" y="510459"/>
                  <a:pt x="2443438" y="416345"/>
                </a:cubicBezTo>
                <a:cubicBezTo>
                  <a:pt x="2383444" y="325926"/>
                  <a:pt x="2392498" y="227312"/>
                  <a:pt x="2400264" y="188584"/>
                </a:cubicBezTo>
                <a:close/>
                <a:moveTo>
                  <a:pt x="1446210" y="188530"/>
                </a:moveTo>
                <a:cubicBezTo>
                  <a:pt x="1547288" y="214403"/>
                  <a:pt x="1605513" y="266468"/>
                  <a:pt x="1638563" y="323247"/>
                </a:cubicBezTo>
                <a:lnTo>
                  <a:pt x="1638510" y="323247"/>
                </a:lnTo>
                <a:cubicBezTo>
                  <a:pt x="1695289" y="420898"/>
                  <a:pt x="1551840" y="510405"/>
                  <a:pt x="1489383" y="416291"/>
                </a:cubicBezTo>
                <a:cubicBezTo>
                  <a:pt x="1429390" y="325872"/>
                  <a:pt x="1438443" y="227258"/>
                  <a:pt x="1446210" y="188530"/>
                </a:cubicBezTo>
                <a:close/>
                <a:moveTo>
                  <a:pt x="492209" y="188477"/>
                </a:moveTo>
                <a:cubicBezTo>
                  <a:pt x="593287" y="214349"/>
                  <a:pt x="651512" y="266415"/>
                  <a:pt x="684562" y="323194"/>
                </a:cubicBezTo>
                <a:cubicBezTo>
                  <a:pt x="741341" y="420844"/>
                  <a:pt x="597893" y="510352"/>
                  <a:pt x="535436" y="416237"/>
                </a:cubicBezTo>
                <a:cubicBezTo>
                  <a:pt x="475389" y="325819"/>
                  <a:pt x="484442" y="227205"/>
                  <a:pt x="492209" y="188477"/>
                </a:cubicBezTo>
                <a:close/>
                <a:moveTo>
                  <a:pt x="4988048" y="0"/>
                </a:moveTo>
                <a:lnTo>
                  <a:pt x="5112486" y="0"/>
                </a:lnTo>
                <a:lnTo>
                  <a:pt x="5112579" y="67"/>
                </a:lnTo>
                <a:cubicBezTo>
                  <a:pt x="5142950" y="30660"/>
                  <a:pt x="5153261" y="81105"/>
                  <a:pt x="5114319" y="122002"/>
                </a:cubicBezTo>
                <a:cubicBezTo>
                  <a:pt x="5039488" y="200582"/>
                  <a:pt x="4941358" y="213653"/>
                  <a:pt x="4901826" y="214724"/>
                </a:cubicBezTo>
                <a:cubicBezTo>
                  <a:pt x="4903914" y="136505"/>
                  <a:pt x="4925709" y="78503"/>
                  <a:pt x="4956746" y="35477"/>
                </a:cubicBezTo>
                <a:close/>
                <a:moveTo>
                  <a:pt x="4669763" y="0"/>
                </a:moveTo>
                <a:lnTo>
                  <a:pt x="4890512" y="0"/>
                </a:lnTo>
                <a:lnTo>
                  <a:pt x="4880499" y="16894"/>
                </a:lnTo>
                <a:cubicBezTo>
                  <a:pt x="4857152" y="48216"/>
                  <a:pt x="4829940" y="71035"/>
                  <a:pt x="4801550" y="87559"/>
                </a:cubicBezTo>
                <a:lnTo>
                  <a:pt x="4801550" y="87506"/>
                </a:lnTo>
                <a:cubicBezTo>
                  <a:pt x="4740519" y="122993"/>
                  <a:pt x="4682668" y="80266"/>
                  <a:pt x="4670840" y="27982"/>
                </a:cubicBezTo>
                <a:close/>
                <a:moveTo>
                  <a:pt x="4419419" y="0"/>
                </a:moveTo>
                <a:lnTo>
                  <a:pt x="4543718" y="0"/>
                </a:lnTo>
                <a:lnTo>
                  <a:pt x="4589307" y="56836"/>
                </a:lnTo>
                <a:cubicBezTo>
                  <a:pt x="4626197" y="117857"/>
                  <a:pt x="4633770" y="180469"/>
                  <a:pt x="4634534" y="210117"/>
                </a:cubicBezTo>
                <a:cubicBezTo>
                  <a:pt x="4530295" y="207332"/>
                  <a:pt x="4461946" y="169515"/>
                  <a:pt x="4417111" y="121467"/>
                </a:cubicBezTo>
                <a:lnTo>
                  <a:pt x="4417058" y="121467"/>
                </a:lnTo>
                <a:cubicBezTo>
                  <a:pt x="4388173" y="90492"/>
                  <a:pt x="4386992" y="54381"/>
                  <a:pt x="4401114" y="25448"/>
                </a:cubicBezTo>
                <a:close/>
                <a:moveTo>
                  <a:pt x="4034213" y="0"/>
                </a:moveTo>
                <a:lnTo>
                  <a:pt x="4158774" y="0"/>
                </a:lnTo>
                <a:lnTo>
                  <a:pt x="4158792" y="13"/>
                </a:lnTo>
                <a:cubicBezTo>
                  <a:pt x="4189163" y="30606"/>
                  <a:pt x="4199474" y="81051"/>
                  <a:pt x="4160532" y="121949"/>
                </a:cubicBezTo>
                <a:cubicBezTo>
                  <a:pt x="4085702" y="200529"/>
                  <a:pt x="3987570" y="213599"/>
                  <a:pt x="3948039" y="214670"/>
                </a:cubicBezTo>
                <a:cubicBezTo>
                  <a:pt x="3950128" y="136451"/>
                  <a:pt x="3971922" y="78450"/>
                  <a:pt x="4002959" y="35423"/>
                </a:cubicBezTo>
                <a:close/>
                <a:moveTo>
                  <a:pt x="3715871" y="0"/>
                </a:moveTo>
                <a:lnTo>
                  <a:pt x="3936607" y="0"/>
                </a:lnTo>
                <a:lnTo>
                  <a:pt x="3926626" y="16840"/>
                </a:lnTo>
                <a:cubicBezTo>
                  <a:pt x="3903272" y="48162"/>
                  <a:pt x="3876047" y="70981"/>
                  <a:pt x="3847658" y="87506"/>
                </a:cubicBezTo>
                <a:lnTo>
                  <a:pt x="3847658" y="87452"/>
                </a:lnTo>
                <a:cubicBezTo>
                  <a:pt x="3786626" y="122940"/>
                  <a:pt x="3728776" y="80213"/>
                  <a:pt x="3716947" y="27929"/>
                </a:cubicBezTo>
                <a:close/>
                <a:moveTo>
                  <a:pt x="3465540" y="0"/>
                </a:moveTo>
                <a:lnTo>
                  <a:pt x="3589921" y="0"/>
                </a:lnTo>
                <a:lnTo>
                  <a:pt x="3635468" y="56782"/>
                </a:lnTo>
                <a:cubicBezTo>
                  <a:pt x="3672357" y="117804"/>
                  <a:pt x="3679930" y="180415"/>
                  <a:pt x="3680694" y="210063"/>
                </a:cubicBezTo>
                <a:cubicBezTo>
                  <a:pt x="3576402" y="207279"/>
                  <a:pt x="3508052" y="169462"/>
                  <a:pt x="3463218" y="121413"/>
                </a:cubicBezTo>
                <a:cubicBezTo>
                  <a:pt x="3434332" y="90439"/>
                  <a:pt x="3433152" y="54327"/>
                  <a:pt x="3447274" y="25394"/>
                </a:cubicBezTo>
                <a:close/>
                <a:moveTo>
                  <a:pt x="3080111" y="0"/>
                </a:moveTo>
                <a:lnTo>
                  <a:pt x="3204765" y="0"/>
                </a:lnTo>
                <a:lnTo>
                  <a:pt x="3223298" y="26167"/>
                </a:lnTo>
                <a:cubicBezTo>
                  <a:pt x="3237186" y="55178"/>
                  <a:pt x="3235684" y="91222"/>
                  <a:pt x="3206478" y="121895"/>
                </a:cubicBezTo>
                <a:cubicBezTo>
                  <a:pt x="3131647" y="200476"/>
                  <a:pt x="3033515" y="213546"/>
                  <a:pt x="2993984" y="214617"/>
                </a:cubicBezTo>
                <a:cubicBezTo>
                  <a:pt x="2996073" y="136398"/>
                  <a:pt x="3017868" y="78396"/>
                  <a:pt x="3048904" y="35370"/>
                </a:cubicBezTo>
                <a:close/>
                <a:moveTo>
                  <a:pt x="2761872" y="0"/>
                </a:moveTo>
                <a:lnTo>
                  <a:pt x="2982553" y="0"/>
                </a:lnTo>
                <a:lnTo>
                  <a:pt x="2972605" y="16786"/>
                </a:lnTo>
                <a:cubicBezTo>
                  <a:pt x="2949257" y="48109"/>
                  <a:pt x="2922046" y="70927"/>
                  <a:pt x="2893656" y="87452"/>
                </a:cubicBezTo>
                <a:lnTo>
                  <a:pt x="2893656" y="87399"/>
                </a:lnTo>
                <a:cubicBezTo>
                  <a:pt x="2832625" y="122886"/>
                  <a:pt x="2774774" y="80159"/>
                  <a:pt x="2762946" y="27876"/>
                </a:cubicBezTo>
                <a:close/>
                <a:moveTo>
                  <a:pt x="2511447" y="0"/>
                </a:moveTo>
                <a:lnTo>
                  <a:pt x="2635909" y="0"/>
                </a:lnTo>
                <a:lnTo>
                  <a:pt x="2681412" y="56728"/>
                </a:lnTo>
                <a:cubicBezTo>
                  <a:pt x="2718302" y="117750"/>
                  <a:pt x="2725875" y="180362"/>
                  <a:pt x="2726639" y="210010"/>
                </a:cubicBezTo>
                <a:cubicBezTo>
                  <a:pt x="2622400" y="207225"/>
                  <a:pt x="2554051" y="169408"/>
                  <a:pt x="2509216" y="121360"/>
                </a:cubicBezTo>
                <a:lnTo>
                  <a:pt x="2509163" y="121360"/>
                </a:lnTo>
                <a:cubicBezTo>
                  <a:pt x="2480278" y="90385"/>
                  <a:pt x="2479098" y="54274"/>
                  <a:pt x="2493219" y="25341"/>
                </a:cubicBezTo>
                <a:close/>
                <a:moveTo>
                  <a:pt x="2126064" y="0"/>
                </a:moveTo>
                <a:lnTo>
                  <a:pt x="2250803" y="0"/>
                </a:lnTo>
                <a:lnTo>
                  <a:pt x="2269298" y="26113"/>
                </a:lnTo>
                <a:cubicBezTo>
                  <a:pt x="2283185" y="55125"/>
                  <a:pt x="2281684" y="91168"/>
                  <a:pt x="2252477" y="121842"/>
                </a:cubicBezTo>
                <a:cubicBezTo>
                  <a:pt x="2177646" y="200422"/>
                  <a:pt x="2079514" y="213492"/>
                  <a:pt x="2039983" y="214563"/>
                </a:cubicBezTo>
                <a:cubicBezTo>
                  <a:pt x="2042072" y="136344"/>
                  <a:pt x="2063866" y="78343"/>
                  <a:pt x="2094903" y="35317"/>
                </a:cubicBezTo>
                <a:close/>
                <a:moveTo>
                  <a:pt x="1807819" y="0"/>
                </a:moveTo>
                <a:lnTo>
                  <a:pt x="2028467" y="0"/>
                </a:lnTo>
                <a:lnTo>
                  <a:pt x="2018550" y="16733"/>
                </a:lnTo>
                <a:cubicBezTo>
                  <a:pt x="1995203" y="48055"/>
                  <a:pt x="1967992" y="70874"/>
                  <a:pt x="1939602" y="87399"/>
                </a:cubicBezTo>
                <a:lnTo>
                  <a:pt x="1939602" y="87346"/>
                </a:lnTo>
                <a:cubicBezTo>
                  <a:pt x="1878570" y="122833"/>
                  <a:pt x="1820720" y="80106"/>
                  <a:pt x="1808891" y="27822"/>
                </a:cubicBezTo>
                <a:close/>
                <a:moveTo>
                  <a:pt x="1557407" y="0"/>
                </a:moveTo>
                <a:lnTo>
                  <a:pt x="1681951" y="0"/>
                </a:lnTo>
                <a:lnTo>
                  <a:pt x="1727404" y="56675"/>
                </a:lnTo>
                <a:cubicBezTo>
                  <a:pt x="1764282" y="117697"/>
                  <a:pt x="1771835" y="180308"/>
                  <a:pt x="1772638" y="209957"/>
                </a:cubicBezTo>
                <a:cubicBezTo>
                  <a:pt x="1668346" y="207171"/>
                  <a:pt x="1599996" y="169354"/>
                  <a:pt x="1555162" y="121306"/>
                </a:cubicBezTo>
                <a:cubicBezTo>
                  <a:pt x="1526277" y="90332"/>
                  <a:pt x="1525096" y="54220"/>
                  <a:pt x="1539218" y="25287"/>
                </a:cubicBezTo>
                <a:close/>
                <a:moveTo>
                  <a:pt x="1172070" y="0"/>
                </a:moveTo>
                <a:lnTo>
                  <a:pt x="1296894" y="0"/>
                </a:lnTo>
                <a:lnTo>
                  <a:pt x="1315350" y="26060"/>
                </a:lnTo>
                <a:cubicBezTo>
                  <a:pt x="1329238" y="55071"/>
                  <a:pt x="1327736" y="91115"/>
                  <a:pt x="1298529" y="121788"/>
                </a:cubicBezTo>
                <a:cubicBezTo>
                  <a:pt x="1223699" y="200369"/>
                  <a:pt x="1125567" y="213438"/>
                  <a:pt x="1086036" y="214509"/>
                </a:cubicBezTo>
                <a:cubicBezTo>
                  <a:pt x="1088125" y="136290"/>
                  <a:pt x="1109919" y="78289"/>
                  <a:pt x="1140956" y="35263"/>
                </a:cubicBezTo>
                <a:close/>
                <a:moveTo>
                  <a:pt x="853874" y="0"/>
                </a:moveTo>
                <a:lnTo>
                  <a:pt x="1074488" y="0"/>
                </a:lnTo>
                <a:lnTo>
                  <a:pt x="1064603" y="16679"/>
                </a:lnTo>
                <a:cubicBezTo>
                  <a:pt x="1041255" y="48002"/>
                  <a:pt x="1014044" y="70821"/>
                  <a:pt x="985653" y="87346"/>
                </a:cubicBezTo>
                <a:lnTo>
                  <a:pt x="985653" y="87292"/>
                </a:lnTo>
                <a:cubicBezTo>
                  <a:pt x="924623" y="122779"/>
                  <a:pt x="866772" y="80052"/>
                  <a:pt x="854944" y="27768"/>
                </a:cubicBezTo>
                <a:close/>
                <a:moveTo>
                  <a:pt x="603422" y="0"/>
                </a:moveTo>
                <a:lnTo>
                  <a:pt x="728047" y="0"/>
                </a:lnTo>
                <a:lnTo>
                  <a:pt x="773457" y="56622"/>
                </a:lnTo>
                <a:cubicBezTo>
                  <a:pt x="810334" y="117644"/>
                  <a:pt x="817886" y="180255"/>
                  <a:pt x="818690" y="209903"/>
                </a:cubicBezTo>
                <a:cubicBezTo>
                  <a:pt x="714398" y="207118"/>
                  <a:pt x="646049" y="169301"/>
                  <a:pt x="601214" y="121252"/>
                </a:cubicBezTo>
                <a:cubicBezTo>
                  <a:pt x="572329" y="90278"/>
                  <a:pt x="571149" y="54167"/>
                  <a:pt x="585271" y="25234"/>
                </a:cubicBezTo>
                <a:close/>
                <a:moveTo>
                  <a:pt x="218912" y="0"/>
                </a:moveTo>
                <a:lnTo>
                  <a:pt x="341524" y="0"/>
                </a:lnTo>
                <a:lnTo>
                  <a:pt x="342734" y="871"/>
                </a:lnTo>
                <a:cubicBezTo>
                  <a:pt x="373106" y="31463"/>
                  <a:pt x="383417" y="81908"/>
                  <a:pt x="344475" y="122805"/>
                </a:cubicBezTo>
                <a:cubicBezTo>
                  <a:pt x="269644" y="201386"/>
                  <a:pt x="171512" y="214456"/>
                  <a:pt x="131981" y="215528"/>
                </a:cubicBezTo>
                <a:cubicBezTo>
                  <a:pt x="134070" y="137309"/>
                  <a:pt x="155864" y="79307"/>
                  <a:pt x="186901" y="36281"/>
                </a:cubicBezTo>
                <a:close/>
                <a:moveTo>
                  <a:pt x="0" y="0"/>
                </a:moveTo>
                <a:lnTo>
                  <a:pt x="121196" y="0"/>
                </a:lnTo>
                <a:lnTo>
                  <a:pt x="110675" y="17750"/>
                </a:lnTo>
                <a:cubicBezTo>
                  <a:pt x="87321" y="49073"/>
                  <a:pt x="60096" y="71892"/>
                  <a:pt x="31706" y="88417"/>
                </a:cubicBezTo>
                <a:lnTo>
                  <a:pt x="31706" y="88363"/>
                </a:lnTo>
                <a:lnTo>
                  <a:pt x="0" y="99365"/>
                </a:lnTo>
                <a:close/>
              </a:path>
            </a:pathLst>
          </a:custGeom>
          <a:solidFill>
            <a:srgbClr val="C4E3C9"/>
          </a:solidFill>
          <a:ln w="51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73CFA58-1A13-36F1-9C06-31A0DC7033A7}"/>
              </a:ext>
            </a:extLst>
          </p:cNvPr>
          <p:cNvGrpSpPr/>
          <p:nvPr userDrawn="1"/>
        </p:nvGrpSpPr>
        <p:grpSpPr>
          <a:xfrm>
            <a:off x="700087" y="6491287"/>
            <a:ext cx="1788747" cy="276226"/>
            <a:chOff x="700087" y="6491287"/>
            <a:chExt cx="1788747" cy="27622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F77D811-369D-BD6F-4093-F15353B733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65732" t="11021" r="9492" b="49461"/>
            <a:stretch/>
          </p:blipFill>
          <p:spPr>
            <a:xfrm>
              <a:off x="700087" y="6491287"/>
              <a:ext cx="276226" cy="27622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BD442D8-D739-06DD-D6FD-A720AACA2C84}"/>
                </a:ext>
              </a:extLst>
            </p:cNvPr>
            <p:cNvSpPr txBox="1"/>
            <p:nvPr userDrawn="1"/>
          </p:nvSpPr>
          <p:spPr>
            <a:xfrm>
              <a:off x="1083611" y="6544643"/>
              <a:ext cx="1405223" cy="153734"/>
            </a:xfrm>
            <a:custGeom>
              <a:avLst/>
              <a:gdLst/>
              <a:ahLst/>
              <a:cxnLst/>
              <a:rect l="l" t="t" r="r" b="b"/>
              <a:pathLst>
                <a:path w="1405223" h="153734">
                  <a:moveTo>
                    <a:pt x="1133856" y="54864"/>
                  </a:moveTo>
                  <a:cubicBezTo>
                    <a:pt x="1128998" y="54864"/>
                    <a:pt x="1124569" y="56603"/>
                    <a:pt x="1120568" y="60079"/>
                  </a:cubicBezTo>
                  <a:cubicBezTo>
                    <a:pt x="1116568" y="63556"/>
                    <a:pt x="1114044" y="68342"/>
                    <a:pt x="1112996" y="74438"/>
                  </a:cubicBezTo>
                  <a:cubicBezTo>
                    <a:pt x="1112710" y="76153"/>
                    <a:pt x="1112567" y="77724"/>
                    <a:pt x="1112567" y="79153"/>
                  </a:cubicBezTo>
                  <a:cubicBezTo>
                    <a:pt x="1112567" y="83820"/>
                    <a:pt x="1113925" y="87511"/>
                    <a:pt x="1116639" y="90226"/>
                  </a:cubicBezTo>
                  <a:cubicBezTo>
                    <a:pt x="1119354" y="92941"/>
                    <a:pt x="1122759" y="94298"/>
                    <a:pt x="1126855" y="94298"/>
                  </a:cubicBezTo>
                  <a:cubicBezTo>
                    <a:pt x="1131713" y="94298"/>
                    <a:pt x="1136142" y="92536"/>
                    <a:pt x="1140142" y="89011"/>
                  </a:cubicBezTo>
                  <a:cubicBezTo>
                    <a:pt x="1144143" y="85487"/>
                    <a:pt x="1146715" y="80677"/>
                    <a:pt x="1147858" y="74581"/>
                  </a:cubicBezTo>
                  <a:cubicBezTo>
                    <a:pt x="1148143" y="72867"/>
                    <a:pt x="1148286" y="71295"/>
                    <a:pt x="1148286" y="69866"/>
                  </a:cubicBezTo>
                  <a:cubicBezTo>
                    <a:pt x="1148286" y="65199"/>
                    <a:pt x="1146929" y="61532"/>
                    <a:pt x="1144214" y="58865"/>
                  </a:cubicBezTo>
                  <a:cubicBezTo>
                    <a:pt x="1141500" y="56198"/>
                    <a:pt x="1138047" y="54864"/>
                    <a:pt x="1133856" y="54864"/>
                  </a:cubicBezTo>
                  <a:close/>
                  <a:moveTo>
                    <a:pt x="724281" y="54864"/>
                  </a:moveTo>
                  <a:cubicBezTo>
                    <a:pt x="719423" y="54864"/>
                    <a:pt x="714994" y="56603"/>
                    <a:pt x="710993" y="60079"/>
                  </a:cubicBezTo>
                  <a:cubicBezTo>
                    <a:pt x="706993" y="63556"/>
                    <a:pt x="704469" y="68342"/>
                    <a:pt x="703421" y="74438"/>
                  </a:cubicBezTo>
                  <a:cubicBezTo>
                    <a:pt x="703135" y="76153"/>
                    <a:pt x="702992" y="77724"/>
                    <a:pt x="702992" y="79153"/>
                  </a:cubicBezTo>
                  <a:cubicBezTo>
                    <a:pt x="702992" y="83820"/>
                    <a:pt x="704350" y="87511"/>
                    <a:pt x="707064" y="90226"/>
                  </a:cubicBezTo>
                  <a:cubicBezTo>
                    <a:pt x="709779" y="92941"/>
                    <a:pt x="713184" y="94298"/>
                    <a:pt x="717280" y="94298"/>
                  </a:cubicBezTo>
                  <a:cubicBezTo>
                    <a:pt x="722138" y="94298"/>
                    <a:pt x="726567" y="92536"/>
                    <a:pt x="730567" y="89011"/>
                  </a:cubicBezTo>
                  <a:cubicBezTo>
                    <a:pt x="734568" y="85487"/>
                    <a:pt x="737139" y="80677"/>
                    <a:pt x="738282" y="74581"/>
                  </a:cubicBezTo>
                  <a:cubicBezTo>
                    <a:pt x="738568" y="72867"/>
                    <a:pt x="738711" y="71295"/>
                    <a:pt x="738711" y="69866"/>
                  </a:cubicBezTo>
                  <a:cubicBezTo>
                    <a:pt x="738711" y="65199"/>
                    <a:pt x="737354" y="61532"/>
                    <a:pt x="734639" y="58865"/>
                  </a:cubicBezTo>
                  <a:cubicBezTo>
                    <a:pt x="731925" y="56198"/>
                    <a:pt x="728472" y="54864"/>
                    <a:pt x="724281" y="54864"/>
                  </a:cubicBezTo>
                  <a:close/>
                  <a:moveTo>
                    <a:pt x="633460" y="54864"/>
                  </a:moveTo>
                  <a:cubicBezTo>
                    <a:pt x="628602" y="54864"/>
                    <a:pt x="624173" y="56626"/>
                    <a:pt x="620172" y="60151"/>
                  </a:cubicBezTo>
                  <a:cubicBezTo>
                    <a:pt x="616172" y="63675"/>
                    <a:pt x="613600" y="68485"/>
                    <a:pt x="612457" y="74581"/>
                  </a:cubicBezTo>
                  <a:cubicBezTo>
                    <a:pt x="612172" y="76296"/>
                    <a:pt x="612029" y="77867"/>
                    <a:pt x="612029" y="79296"/>
                  </a:cubicBezTo>
                  <a:cubicBezTo>
                    <a:pt x="612029" y="83963"/>
                    <a:pt x="613362" y="87630"/>
                    <a:pt x="616029" y="90297"/>
                  </a:cubicBezTo>
                  <a:cubicBezTo>
                    <a:pt x="618696" y="92964"/>
                    <a:pt x="622125" y="94298"/>
                    <a:pt x="626316" y="94298"/>
                  </a:cubicBezTo>
                  <a:cubicBezTo>
                    <a:pt x="631174" y="94298"/>
                    <a:pt x="635627" y="92512"/>
                    <a:pt x="639675" y="88940"/>
                  </a:cubicBezTo>
                  <a:cubicBezTo>
                    <a:pt x="643723" y="85368"/>
                    <a:pt x="646319" y="80534"/>
                    <a:pt x="647462" y="74438"/>
                  </a:cubicBezTo>
                  <a:cubicBezTo>
                    <a:pt x="647747" y="72819"/>
                    <a:pt x="647890" y="71343"/>
                    <a:pt x="647890" y="70009"/>
                  </a:cubicBezTo>
                  <a:cubicBezTo>
                    <a:pt x="647890" y="65247"/>
                    <a:pt x="646533" y="61532"/>
                    <a:pt x="643818" y="58865"/>
                  </a:cubicBezTo>
                  <a:cubicBezTo>
                    <a:pt x="641104" y="56198"/>
                    <a:pt x="637651" y="54864"/>
                    <a:pt x="633460" y="54864"/>
                  </a:cubicBezTo>
                  <a:close/>
                  <a:moveTo>
                    <a:pt x="532924" y="54579"/>
                  </a:moveTo>
                  <a:cubicBezTo>
                    <a:pt x="528828" y="54579"/>
                    <a:pt x="525232" y="55793"/>
                    <a:pt x="522136" y="58222"/>
                  </a:cubicBezTo>
                  <a:cubicBezTo>
                    <a:pt x="519041" y="60651"/>
                    <a:pt x="516636" y="63818"/>
                    <a:pt x="514921" y="67723"/>
                  </a:cubicBezTo>
                  <a:cubicBezTo>
                    <a:pt x="513207" y="71628"/>
                    <a:pt x="512349" y="75724"/>
                    <a:pt x="512349" y="80010"/>
                  </a:cubicBezTo>
                  <a:cubicBezTo>
                    <a:pt x="512349" y="84678"/>
                    <a:pt x="513588" y="88273"/>
                    <a:pt x="516064" y="90797"/>
                  </a:cubicBezTo>
                  <a:cubicBezTo>
                    <a:pt x="518541" y="93322"/>
                    <a:pt x="521732" y="94584"/>
                    <a:pt x="525637" y="94584"/>
                  </a:cubicBezTo>
                  <a:cubicBezTo>
                    <a:pt x="529637" y="94584"/>
                    <a:pt x="533233" y="93369"/>
                    <a:pt x="536424" y="90940"/>
                  </a:cubicBezTo>
                  <a:cubicBezTo>
                    <a:pt x="539615" y="88511"/>
                    <a:pt x="542091" y="85368"/>
                    <a:pt x="543853" y="81511"/>
                  </a:cubicBezTo>
                  <a:cubicBezTo>
                    <a:pt x="545616" y="77653"/>
                    <a:pt x="546497" y="73629"/>
                    <a:pt x="546497" y="69438"/>
                  </a:cubicBezTo>
                  <a:cubicBezTo>
                    <a:pt x="546497" y="64675"/>
                    <a:pt x="545211" y="61008"/>
                    <a:pt x="542639" y="58436"/>
                  </a:cubicBezTo>
                  <a:cubicBezTo>
                    <a:pt x="540067" y="55864"/>
                    <a:pt x="536829" y="54579"/>
                    <a:pt x="532924" y="54579"/>
                  </a:cubicBezTo>
                  <a:close/>
                  <a:moveTo>
                    <a:pt x="256889" y="41005"/>
                  </a:moveTo>
                  <a:lnTo>
                    <a:pt x="237744" y="78153"/>
                  </a:lnTo>
                  <a:lnTo>
                    <a:pt x="262747" y="78153"/>
                  </a:lnTo>
                  <a:close/>
                  <a:moveTo>
                    <a:pt x="1061752" y="34719"/>
                  </a:moveTo>
                  <a:lnTo>
                    <a:pt x="1086183" y="34719"/>
                  </a:lnTo>
                  <a:lnTo>
                    <a:pt x="1072181" y="114443"/>
                  </a:lnTo>
                  <a:lnTo>
                    <a:pt x="1047750" y="114443"/>
                  </a:lnTo>
                  <a:close/>
                  <a:moveTo>
                    <a:pt x="939022" y="33862"/>
                  </a:moveTo>
                  <a:cubicBezTo>
                    <a:pt x="947023" y="33862"/>
                    <a:pt x="953309" y="36100"/>
                    <a:pt x="957881" y="40577"/>
                  </a:cubicBezTo>
                  <a:cubicBezTo>
                    <a:pt x="962453" y="45054"/>
                    <a:pt x="964739" y="51292"/>
                    <a:pt x="964739" y="59293"/>
                  </a:cubicBezTo>
                  <a:cubicBezTo>
                    <a:pt x="964739" y="61960"/>
                    <a:pt x="964454" y="64818"/>
                    <a:pt x="963882" y="67866"/>
                  </a:cubicBezTo>
                  <a:lnTo>
                    <a:pt x="955595" y="114443"/>
                  </a:lnTo>
                  <a:lnTo>
                    <a:pt x="931307" y="114443"/>
                  </a:lnTo>
                  <a:lnTo>
                    <a:pt x="939022" y="71152"/>
                  </a:lnTo>
                  <a:cubicBezTo>
                    <a:pt x="939308" y="69533"/>
                    <a:pt x="939451" y="68104"/>
                    <a:pt x="939451" y="66866"/>
                  </a:cubicBezTo>
                  <a:cubicBezTo>
                    <a:pt x="939451" y="62865"/>
                    <a:pt x="938331" y="59770"/>
                    <a:pt x="936093" y="57579"/>
                  </a:cubicBezTo>
                  <a:cubicBezTo>
                    <a:pt x="933854" y="55388"/>
                    <a:pt x="930735" y="54293"/>
                    <a:pt x="926735" y="54293"/>
                  </a:cubicBezTo>
                  <a:cubicBezTo>
                    <a:pt x="921972" y="54293"/>
                    <a:pt x="917972" y="55769"/>
                    <a:pt x="914733" y="58722"/>
                  </a:cubicBezTo>
                  <a:cubicBezTo>
                    <a:pt x="911495" y="61675"/>
                    <a:pt x="909399" y="65818"/>
                    <a:pt x="908447" y="71152"/>
                  </a:cubicBezTo>
                  <a:lnTo>
                    <a:pt x="908447" y="70438"/>
                  </a:lnTo>
                  <a:lnTo>
                    <a:pt x="900731" y="114443"/>
                  </a:lnTo>
                  <a:lnTo>
                    <a:pt x="876300" y="114443"/>
                  </a:lnTo>
                  <a:lnTo>
                    <a:pt x="890301" y="34719"/>
                  </a:lnTo>
                  <a:lnTo>
                    <a:pt x="914733" y="34719"/>
                  </a:lnTo>
                  <a:lnTo>
                    <a:pt x="912876" y="45435"/>
                  </a:lnTo>
                  <a:cubicBezTo>
                    <a:pt x="916019" y="41910"/>
                    <a:pt x="919853" y="39101"/>
                    <a:pt x="924377" y="37005"/>
                  </a:cubicBezTo>
                  <a:cubicBezTo>
                    <a:pt x="928902" y="34909"/>
                    <a:pt x="933783" y="33862"/>
                    <a:pt x="939022" y="33862"/>
                  </a:cubicBezTo>
                  <a:close/>
                  <a:moveTo>
                    <a:pt x="1372790" y="33576"/>
                  </a:moveTo>
                  <a:cubicBezTo>
                    <a:pt x="1379363" y="33576"/>
                    <a:pt x="1385078" y="34648"/>
                    <a:pt x="1389935" y="36791"/>
                  </a:cubicBezTo>
                  <a:cubicBezTo>
                    <a:pt x="1394793" y="38934"/>
                    <a:pt x="1398556" y="41910"/>
                    <a:pt x="1401223" y="45720"/>
                  </a:cubicBezTo>
                  <a:cubicBezTo>
                    <a:pt x="1403890" y="49530"/>
                    <a:pt x="1405223" y="53817"/>
                    <a:pt x="1405223" y="58579"/>
                  </a:cubicBezTo>
                  <a:lnTo>
                    <a:pt x="1405080" y="60722"/>
                  </a:lnTo>
                  <a:lnTo>
                    <a:pt x="1382935" y="60722"/>
                  </a:lnTo>
                  <a:cubicBezTo>
                    <a:pt x="1383125" y="57865"/>
                    <a:pt x="1382268" y="55579"/>
                    <a:pt x="1380363" y="53864"/>
                  </a:cubicBezTo>
                  <a:cubicBezTo>
                    <a:pt x="1378458" y="52150"/>
                    <a:pt x="1375743" y="51292"/>
                    <a:pt x="1372219" y="51292"/>
                  </a:cubicBezTo>
                  <a:cubicBezTo>
                    <a:pt x="1369457" y="51292"/>
                    <a:pt x="1367195" y="51864"/>
                    <a:pt x="1365432" y="53007"/>
                  </a:cubicBezTo>
                  <a:cubicBezTo>
                    <a:pt x="1363670" y="54150"/>
                    <a:pt x="1362789" y="55722"/>
                    <a:pt x="1362789" y="57722"/>
                  </a:cubicBezTo>
                  <a:cubicBezTo>
                    <a:pt x="1362789" y="59817"/>
                    <a:pt x="1363956" y="61556"/>
                    <a:pt x="1366290" y="62937"/>
                  </a:cubicBezTo>
                  <a:cubicBezTo>
                    <a:pt x="1368623" y="64318"/>
                    <a:pt x="1372267" y="65866"/>
                    <a:pt x="1377220" y="67580"/>
                  </a:cubicBezTo>
                  <a:cubicBezTo>
                    <a:pt x="1382363" y="69295"/>
                    <a:pt x="1386625" y="70985"/>
                    <a:pt x="1390007" y="72652"/>
                  </a:cubicBezTo>
                  <a:cubicBezTo>
                    <a:pt x="1393388" y="74319"/>
                    <a:pt x="1396293" y="76653"/>
                    <a:pt x="1398722" y="79653"/>
                  </a:cubicBezTo>
                  <a:cubicBezTo>
                    <a:pt x="1401151" y="82654"/>
                    <a:pt x="1402366" y="86392"/>
                    <a:pt x="1402366" y="90869"/>
                  </a:cubicBezTo>
                  <a:cubicBezTo>
                    <a:pt x="1402366" y="96012"/>
                    <a:pt x="1400818" y="100441"/>
                    <a:pt x="1397722" y="104156"/>
                  </a:cubicBezTo>
                  <a:cubicBezTo>
                    <a:pt x="1394626" y="107871"/>
                    <a:pt x="1390388" y="110705"/>
                    <a:pt x="1385006" y="112657"/>
                  </a:cubicBezTo>
                  <a:cubicBezTo>
                    <a:pt x="1379625" y="114610"/>
                    <a:pt x="1373505" y="115586"/>
                    <a:pt x="1366647" y="115586"/>
                  </a:cubicBezTo>
                  <a:cubicBezTo>
                    <a:pt x="1360360" y="115586"/>
                    <a:pt x="1354717" y="114586"/>
                    <a:pt x="1349716" y="112586"/>
                  </a:cubicBezTo>
                  <a:cubicBezTo>
                    <a:pt x="1344716" y="110586"/>
                    <a:pt x="1340786" y="107800"/>
                    <a:pt x="1337929" y="104228"/>
                  </a:cubicBezTo>
                  <a:cubicBezTo>
                    <a:pt x="1335072" y="100656"/>
                    <a:pt x="1333643" y="96536"/>
                    <a:pt x="1333643" y="91869"/>
                  </a:cubicBezTo>
                  <a:cubicBezTo>
                    <a:pt x="1333643" y="91202"/>
                    <a:pt x="1333738" y="90012"/>
                    <a:pt x="1333928" y="88297"/>
                  </a:cubicBezTo>
                  <a:lnTo>
                    <a:pt x="1357503" y="88297"/>
                  </a:lnTo>
                  <a:cubicBezTo>
                    <a:pt x="1357312" y="91250"/>
                    <a:pt x="1358193" y="93607"/>
                    <a:pt x="1360146" y="95369"/>
                  </a:cubicBezTo>
                  <a:cubicBezTo>
                    <a:pt x="1362099" y="97132"/>
                    <a:pt x="1364885" y="98013"/>
                    <a:pt x="1368504" y="98013"/>
                  </a:cubicBezTo>
                  <a:cubicBezTo>
                    <a:pt x="1371552" y="98013"/>
                    <a:pt x="1374076" y="97441"/>
                    <a:pt x="1376077" y="96298"/>
                  </a:cubicBezTo>
                  <a:cubicBezTo>
                    <a:pt x="1378077" y="95155"/>
                    <a:pt x="1379077" y="93536"/>
                    <a:pt x="1379077" y="91440"/>
                  </a:cubicBezTo>
                  <a:cubicBezTo>
                    <a:pt x="1379077" y="89440"/>
                    <a:pt x="1378005" y="87845"/>
                    <a:pt x="1375862" y="86654"/>
                  </a:cubicBezTo>
                  <a:cubicBezTo>
                    <a:pt x="1373719" y="85463"/>
                    <a:pt x="1370171" y="84011"/>
                    <a:pt x="1365218" y="82296"/>
                  </a:cubicBezTo>
                  <a:cubicBezTo>
                    <a:pt x="1360075" y="80582"/>
                    <a:pt x="1355764" y="78891"/>
                    <a:pt x="1352288" y="77224"/>
                  </a:cubicBezTo>
                  <a:cubicBezTo>
                    <a:pt x="1348811" y="75557"/>
                    <a:pt x="1345835" y="73152"/>
                    <a:pt x="1343358" y="70009"/>
                  </a:cubicBezTo>
                  <a:cubicBezTo>
                    <a:pt x="1340882" y="66866"/>
                    <a:pt x="1339643" y="62913"/>
                    <a:pt x="1339643" y="58150"/>
                  </a:cubicBezTo>
                  <a:cubicBezTo>
                    <a:pt x="1339643" y="53483"/>
                    <a:pt x="1341025" y="49268"/>
                    <a:pt x="1343787" y="45506"/>
                  </a:cubicBezTo>
                  <a:cubicBezTo>
                    <a:pt x="1346549" y="41744"/>
                    <a:pt x="1350431" y="38815"/>
                    <a:pt x="1355431" y="36719"/>
                  </a:cubicBezTo>
                  <a:cubicBezTo>
                    <a:pt x="1360432" y="34624"/>
                    <a:pt x="1366218" y="33576"/>
                    <a:pt x="1372790" y="33576"/>
                  </a:cubicBezTo>
                  <a:close/>
                  <a:moveTo>
                    <a:pt x="1130427" y="33576"/>
                  </a:moveTo>
                  <a:cubicBezTo>
                    <a:pt x="1136047" y="33576"/>
                    <a:pt x="1140809" y="34719"/>
                    <a:pt x="1144714" y="37005"/>
                  </a:cubicBezTo>
                  <a:cubicBezTo>
                    <a:pt x="1148620" y="39291"/>
                    <a:pt x="1151334" y="42291"/>
                    <a:pt x="1152858" y="46006"/>
                  </a:cubicBezTo>
                  <a:lnTo>
                    <a:pt x="1154859" y="34719"/>
                  </a:lnTo>
                  <a:lnTo>
                    <a:pt x="1179290" y="34719"/>
                  </a:lnTo>
                  <a:lnTo>
                    <a:pt x="1165288" y="114300"/>
                  </a:lnTo>
                  <a:cubicBezTo>
                    <a:pt x="1163955" y="121635"/>
                    <a:pt x="1161312" y="128278"/>
                    <a:pt x="1157359" y="134231"/>
                  </a:cubicBezTo>
                  <a:cubicBezTo>
                    <a:pt x="1153406" y="140185"/>
                    <a:pt x="1148120" y="144923"/>
                    <a:pt x="1141500" y="148447"/>
                  </a:cubicBezTo>
                  <a:cubicBezTo>
                    <a:pt x="1134880" y="151972"/>
                    <a:pt x="1127188" y="153734"/>
                    <a:pt x="1118425" y="153734"/>
                  </a:cubicBezTo>
                  <a:cubicBezTo>
                    <a:pt x="1106614" y="153734"/>
                    <a:pt x="1097518" y="150948"/>
                    <a:pt x="1091136" y="145376"/>
                  </a:cubicBezTo>
                  <a:cubicBezTo>
                    <a:pt x="1084754" y="139804"/>
                    <a:pt x="1081897" y="132255"/>
                    <a:pt x="1082564" y="122730"/>
                  </a:cubicBezTo>
                  <a:lnTo>
                    <a:pt x="1106710" y="122730"/>
                  </a:lnTo>
                  <a:cubicBezTo>
                    <a:pt x="1106995" y="125778"/>
                    <a:pt x="1108400" y="128183"/>
                    <a:pt x="1110924" y="129945"/>
                  </a:cubicBezTo>
                  <a:cubicBezTo>
                    <a:pt x="1113448" y="131707"/>
                    <a:pt x="1116806" y="132588"/>
                    <a:pt x="1120997" y="132588"/>
                  </a:cubicBezTo>
                  <a:cubicBezTo>
                    <a:pt x="1126045" y="132588"/>
                    <a:pt x="1130332" y="131136"/>
                    <a:pt x="1133856" y="128231"/>
                  </a:cubicBezTo>
                  <a:cubicBezTo>
                    <a:pt x="1137380" y="125326"/>
                    <a:pt x="1139714" y="120682"/>
                    <a:pt x="1140857" y="114300"/>
                  </a:cubicBezTo>
                  <a:lnTo>
                    <a:pt x="1142857" y="103013"/>
                  </a:lnTo>
                  <a:cubicBezTo>
                    <a:pt x="1139809" y="106728"/>
                    <a:pt x="1135975" y="109752"/>
                    <a:pt x="1131355" y="112086"/>
                  </a:cubicBezTo>
                  <a:cubicBezTo>
                    <a:pt x="1126736" y="114419"/>
                    <a:pt x="1121616" y="115586"/>
                    <a:pt x="1115996" y="115586"/>
                  </a:cubicBezTo>
                  <a:cubicBezTo>
                    <a:pt x="1110377" y="115586"/>
                    <a:pt x="1105400" y="114300"/>
                    <a:pt x="1101066" y="111729"/>
                  </a:cubicBezTo>
                  <a:cubicBezTo>
                    <a:pt x="1096732" y="109157"/>
                    <a:pt x="1093351" y="105490"/>
                    <a:pt x="1090922" y="100727"/>
                  </a:cubicBezTo>
                  <a:cubicBezTo>
                    <a:pt x="1088493" y="95965"/>
                    <a:pt x="1087279" y="90393"/>
                    <a:pt x="1087279" y="84011"/>
                  </a:cubicBezTo>
                  <a:cubicBezTo>
                    <a:pt x="1087279" y="81058"/>
                    <a:pt x="1087564" y="77867"/>
                    <a:pt x="1088136" y="74438"/>
                  </a:cubicBezTo>
                  <a:cubicBezTo>
                    <a:pt x="1089565" y="66247"/>
                    <a:pt x="1092374" y="59055"/>
                    <a:pt x="1096565" y="52864"/>
                  </a:cubicBezTo>
                  <a:cubicBezTo>
                    <a:pt x="1100756" y="46673"/>
                    <a:pt x="1105805" y="41910"/>
                    <a:pt x="1111710" y="38577"/>
                  </a:cubicBezTo>
                  <a:cubicBezTo>
                    <a:pt x="1117616" y="35243"/>
                    <a:pt x="1123855" y="33576"/>
                    <a:pt x="1130427" y="33576"/>
                  </a:cubicBezTo>
                  <a:close/>
                  <a:moveTo>
                    <a:pt x="1010840" y="33576"/>
                  </a:moveTo>
                  <a:cubicBezTo>
                    <a:pt x="1017413" y="33576"/>
                    <a:pt x="1023128" y="34648"/>
                    <a:pt x="1027985" y="36791"/>
                  </a:cubicBezTo>
                  <a:cubicBezTo>
                    <a:pt x="1032843" y="38934"/>
                    <a:pt x="1036606" y="41910"/>
                    <a:pt x="1039273" y="45720"/>
                  </a:cubicBezTo>
                  <a:cubicBezTo>
                    <a:pt x="1041940" y="49530"/>
                    <a:pt x="1043273" y="53817"/>
                    <a:pt x="1043273" y="58579"/>
                  </a:cubicBezTo>
                  <a:lnTo>
                    <a:pt x="1043130" y="60722"/>
                  </a:lnTo>
                  <a:lnTo>
                    <a:pt x="1020985" y="60722"/>
                  </a:lnTo>
                  <a:cubicBezTo>
                    <a:pt x="1021175" y="57865"/>
                    <a:pt x="1020318" y="55579"/>
                    <a:pt x="1018413" y="53864"/>
                  </a:cubicBezTo>
                  <a:cubicBezTo>
                    <a:pt x="1016508" y="52150"/>
                    <a:pt x="1013793" y="51292"/>
                    <a:pt x="1010269" y="51292"/>
                  </a:cubicBezTo>
                  <a:cubicBezTo>
                    <a:pt x="1007506" y="51292"/>
                    <a:pt x="1005244" y="51864"/>
                    <a:pt x="1003482" y="53007"/>
                  </a:cubicBezTo>
                  <a:cubicBezTo>
                    <a:pt x="1001720" y="54150"/>
                    <a:pt x="1000839" y="55722"/>
                    <a:pt x="1000839" y="57722"/>
                  </a:cubicBezTo>
                  <a:cubicBezTo>
                    <a:pt x="1000839" y="59817"/>
                    <a:pt x="1002006" y="61556"/>
                    <a:pt x="1004339" y="62937"/>
                  </a:cubicBezTo>
                  <a:cubicBezTo>
                    <a:pt x="1006673" y="64318"/>
                    <a:pt x="1010316" y="65866"/>
                    <a:pt x="1015270" y="67580"/>
                  </a:cubicBezTo>
                  <a:cubicBezTo>
                    <a:pt x="1020413" y="69295"/>
                    <a:pt x="1024675" y="70985"/>
                    <a:pt x="1028057" y="72652"/>
                  </a:cubicBezTo>
                  <a:cubicBezTo>
                    <a:pt x="1031438" y="74319"/>
                    <a:pt x="1034343" y="76653"/>
                    <a:pt x="1036772" y="79653"/>
                  </a:cubicBezTo>
                  <a:cubicBezTo>
                    <a:pt x="1039201" y="82654"/>
                    <a:pt x="1040416" y="86392"/>
                    <a:pt x="1040416" y="90869"/>
                  </a:cubicBezTo>
                  <a:cubicBezTo>
                    <a:pt x="1040416" y="96012"/>
                    <a:pt x="1038868" y="100441"/>
                    <a:pt x="1035772" y="104156"/>
                  </a:cubicBezTo>
                  <a:cubicBezTo>
                    <a:pt x="1032677" y="107871"/>
                    <a:pt x="1028438" y="110705"/>
                    <a:pt x="1023056" y="112657"/>
                  </a:cubicBezTo>
                  <a:cubicBezTo>
                    <a:pt x="1017675" y="114610"/>
                    <a:pt x="1011555" y="115586"/>
                    <a:pt x="1004697" y="115586"/>
                  </a:cubicBezTo>
                  <a:cubicBezTo>
                    <a:pt x="998410" y="115586"/>
                    <a:pt x="992767" y="114586"/>
                    <a:pt x="987766" y="112586"/>
                  </a:cubicBezTo>
                  <a:cubicBezTo>
                    <a:pt x="982765" y="110586"/>
                    <a:pt x="978836" y="107800"/>
                    <a:pt x="975979" y="104228"/>
                  </a:cubicBezTo>
                  <a:cubicBezTo>
                    <a:pt x="973121" y="100656"/>
                    <a:pt x="971693" y="96536"/>
                    <a:pt x="971693" y="91869"/>
                  </a:cubicBezTo>
                  <a:cubicBezTo>
                    <a:pt x="971693" y="91202"/>
                    <a:pt x="971788" y="90012"/>
                    <a:pt x="971978" y="88297"/>
                  </a:cubicBezTo>
                  <a:lnTo>
                    <a:pt x="995553" y="88297"/>
                  </a:lnTo>
                  <a:cubicBezTo>
                    <a:pt x="995362" y="91250"/>
                    <a:pt x="996243" y="93607"/>
                    <a:pt x="998196" y="95369"/>
                  </a:cubicBezTo>
                  <a:cubicBezTo>
                    <a:pt x="1000148" y="97132"/>
                    <a:pt x="1002935" y="98013"/>
                    <a:pt x="1006554" y="98013"/>
                  </a:cubicBezTo>
                  <a:cubicBezTo>
                    <a:pt x="1009602" y="98013"/>
                    <a:pt x="1012126" y="97441"/>
                    <a:pt x="1014127" y="96298"/>
                  </a:cubicBezTo>
                  <a:cubicBezTo>
                    <a:pt x="1016127" y="95155"/>
                    <a:pt x="1017127" y="93536"/>
                    <a:pt x="1017127" y="91440"/>
                  </a:cubicBezTo>
                  <a:cubicBezTo>
                    <a:pt x="1017127" y="89440"/>
                    <a:pt x="1016055" y="87845"/>
                    <a:pt x="1013912" y="86654"/>
                  </a:cubicBezTo>
                  <a:cubicBezTo>
                    <a:pt x="1011769" y="85463"/>
                    <a:pt x="1008221" y="84011"/>
                    <a:pt x="1003268" y="82296"/>
                  </a:cubicBezTo>
                  <a:cubicBezTo>
                    <a:pt x="998124" y="80582"/>
                    <a:pt x="993814" y="78891"/>
                    <a:pt x="990338" y="77224"/>
                  </a:cubicBezTo>
                  <a:cubicBezTo>
                    <a:pt x="986861" y="75557"/>
                    <a:pt x="983885" y="73152"/>
                    <a:pt x="981408" y="70009"/>
                  </a:cubicBezTo>
                  <a:cubicBezTo>
                    <a:pt x="978931" y="66866"/>
                    <a:pt x="977693" y="62913"/>
                    <a:pt x="977693" y="58150"/>
                  </a:cubicBezTo>
                  <a:cubicBezTo>
                    <a:pt x="977693" y="53483"/>
                    <a:pt x="979074" y="49268"/>
                    <a:pt x="981837" y="45506"/>
                  </a:cubicBezTo>
                  <a:cubicBezTo>
                    <a:pt x="984599" y="41744"/>
                    <a:pt x="988480" y="38815"/>
                    <a:pt x="993481" y="36719"/>
                  </a:cubicBezTo>
                  <a:cubicBezTo>
                    <a:pt x="998482" y="34624"/>
                    <a:pt x="1004268" y="33576"/>
                    <a:pt x="1010840" y="33576"/>
                  </a:cubicBezTo>
                  <a:close/>
                  <a:moveTo>
                    <a:pt x="720852" y="33576"/>
                  </a:moveTo>
                  <a:cubicBezTo>
                    <a:pt x="726472" y="33576"/>
                    <a:pt x="731186" y="34719"/>
                    <a:pt x="734996" y="37005"/>
                  </a:cubicBezTo>
                  <a:cubicBezTo>
                    <a:pt x="738806" y="39291"/>
                    <a:pt x="741569" y="42291"/>
                    <a:pt x="743283" y="46006"/>
                  </a:cubicBezTo>
                  <a:lnTo>
                    <a:pt x="745283" y="34719"/>
                  </a:lnTo>
                  <a:lnTo>
                    <a:pt x="769715" y="34719"/>
                  </a:lnTo>
                  <a:lnTo>
                    <a:pt x="755570" y="114443"/>
                  </a:lnTo>
                  <a:lnTo>
                    <a:pt x="731139" y="114443"/>
                  </a:lnTo>
                  <a:lnTo>
                    <a:pt x="733282" y="103156"/>
                  </a:lnTo>
                  <a:cubicBezTo>
                    <a:pt x="730234" y="106871"/>
                    <a:pt x="726376" y="109871"/>
                    <a:pt x="721709" y="112157"/>
                  </a:cubicBezTo>
                  <a:cubicBezTo>
                    <a:pt x="717042" y="114443"/>
                    <a:pt x="711898" y="115586"/>
                    <a:pt x="706278" y="115586"/>
                  </a:cubicBezTo>
                  <a:cubicBezTo>
                    <a:pt x="700659" y="115586"/>
                    <a:pt x="695682" y="114300"/>
                    <a:pt x="691348" y="111729"/>
                  </a:cubicBezTo>
                  <a:cubicBezTo>
                    <a:pt x="687014" y="109157"/>
                    <a:pt x="683657" y="105514"/>
                    <a:pt x="681275" y="100799"/>
                  </a:cubicBezTo>
                  <a:cubicBezTo>
                    <a:pt x="678894" y="96084"/>
                    <a:pt x="677703" y="90535"/>
                    <a:pt x="677703" y="84154"/>
                  </a:cubicBezTo>
                  <a:cubicBezTo>
                    <a:pt x="677703" y="81106"/>
                    <a:pt x="677989" y="77867"/>
                    <a:pt x="678561" y="74438"/>
                  </a:cubicBezTo>
                  <a:cubicBezTo>
                    <a:pt x="679989" y="66247"/>
                    <a:pt x="682799" y="59055"/>
                    <a:pt x="686990" y="52864"/>
                  </a:cubicBezTo>
                  <a:cubicBezTo>
                    <a:pt x="691181" y="46673"/>
                    <a:pt x="696230" y="41910"/>
                    <a:pt x="702135" y="38577"/>
                  </a:cubicBezTo>
                  <a:cubicBezTo>
                    <a:pt x="708041" y="35243"/>
                    <a:pt x="714280" y="33576"/>
                    <a:pt x="720852" y="33576"/>
                  </a:cubicBezTo>
                  <a:close/>
                  <a:moveTo>
                    <a:pt x="536495" y="33576"/>
                  </a:moveTo>
                  <a:cubicBezTo>
                    <a:pt x="543353" y="33576"/>
                    <a:pt x="549473" y="34981"/>
                    <a:pt x="554855" y="37791"/>
                  </a:cubicBezTo>
                  <a:cubicBezTo>
                    <a:pt x="560236" y="40601"/>
                    <a:pt x="564404" y="44530"/>
                    <a:pt x="567356" y="49578"/>
                  </a:cubicBezTo>
                  <a:cubicBezTo>
                    <a:pt x="570309" y="54626"/>
                    <a:pt x="571785" y="60484"/>
                    <a:pt x="571785" y="67152"/>
                  </a:cubicBezTo>
                  <a:cubicBezTo>
                    <a:pt x="571785" y="76296"/>
                    <a:pt x="569619" y="84559"/>
                    <a:pt x="565285" y="91940"/>
                  </a:cubicBezTo>
                  <a:cubicBezTo>
                    <a:pt x="560951" y="99322"/>
                    <a:pt x="554998" y="105109"/>
                    <a:pt x="547425" y="109300"/>
                  </a:cubicBezTo>
                  <a:cubicBezTo>
                    <a:pt x="539853" y="113491"/>
                    <a:pt x="531447" y="115586"/>
                    <a:pt x="522208" y="115586"/>
                  </a:cubicBezTo>
                  <a:cubicBezTo>
                    <a:pt x="515350" y="115586"/>
                    <a:pt x="509254" y="114205"/>
                    <a:pt x="503920" y="111443"/>
                  </a:cubicBezTo>
                  <a:cubicBezTo>
                    <a:pt x="498586" y="108681"/>
                    <a:pt x="494466" y="104775"/>
                    <a:pt x="491561" y="99727"/>
                  </a:cubicBezTo>
                  <a:cubicBezTo>
                    <a:pt x="488656" y="94679"/>
                    <a:pt x="487203" y="88821"/>
                    <a:pt x="487203" y="82153"/>
                  </a:cubicBezTo>
                  <a:cubicBezTo>
                    <a:pt x="487203" y="73105"/>
                    <a:pt x="489347" y="64866"/>
                    <a:pt x="493633" y="57436"/>
                  </a:cubicBezTo>
                  <a:cubicBezTo>
                    <a:pt x="497919" y="50007"/>
                    <a:pt x="503825" y="44173"/>
                    <a:pt x="511349" y="39934"/>
                  </a:cubicBezTo>
                  <a:cubicBezTo>
                    <a:pt x="518874" y="35695"/>
                    <a:pt x="527256" y="33576"/>
                    <a:pt x="536495" y="33576"/>
                  </a:cubicBezTo>
                  <a:close/>
                  <a:moveTo>
                    <a:pt x="153019" y="33576"/>
                  </a:moveTo>
                  <a:lnTo>
                    <a:pt x="148590" y="59293"/>
                  </a:lnTo>
                  <a:lnTo>
                    <a:pt x="161734" y="59293"/>
                  </a:lnTo>
                  <a:cubicBezTo>
                    <a:pt x="170878" y="59293"/>
                    <a:pt x="176260" y="55007"/>
                    <a:pt x="177879" y="46435"/>
                  </a:cubicBezTo>
                  <a:cubicBezTo>
                    <a:pt x="178070" y="44911"/>
                    <a:pt x="178165" y="43815"/>
                    <a:pt x="178165" y="43149"/>
                  </a:cubicBezTo>
                  <a:cubicBezTo>
                    <a:pt x="178165" y="40101"/>
                    <a:pt x="177189" y="37743"/>
                    <a:pt x="175236" y="36076"/>
                  </a:cubicBezTo>
                  <a:cubicBezTo>
                    <a:pt x="173283" y="34409"/>
                    <a:pt x="170307" y="33576"/>
                    <a:pt x="166306" y="33576"/>
                  </a:cubicBezTo>
                  <a:close/>
                  <a:moveTo>
                    <a:pt x="1297781" y="15288"/>
                  </a:moveTo>
                  <a:lnTo>
                    <a:pt x="1322213" y="15288"/>
                  </a:lnTo>
                  <a:lnTo>
                    <a:pt x="1318784" y="34719"/>
                  </a:lnTo>
                  <a:lnTo>
                    <a:pt x="1334786" y="34719"/>
                  </a:lnTo>
                  <a:lnTo>
                    <a:pt x="1331214" y="55007"/>
                  </a:lnTo>
                  <a:lnTo>
                    <a:pt x="1315212" y="55007"/>
                  </a:lnTo>
                  <a:lnTo>
                    <a:pt x="1309497" y="87011"/>
                  </a:lnTo>
                  <a:cubicBezTo>
                    <a:pt x="1309402" y="87487"/>
                    <a:pt x="1309354" y="88107"/>
                    <a:pt x="1309354" y="88869"/>
                  </a:cubicBezTo>
                  <a:cubicBezTo>
                    <a:pt x="1309354" y="90583"/>
                    <a:pt x="1309854" y="91821"/>
                    <a:pt x="1310854" y="92583"/>
                  </a:cubicBezTo>
                  <a:cubicBezTo>
                    <a:pt x="1311854" y="93345"/>
                    <a:pt x="1313497" y="93726"/>
                    <a:pt x="1315783" y="93726"/>
                  </a:cubicBezTo>
                  <a:lnTo>
                    <a:pt x="1324499" y="93726"/>
                  </a:lnTo>
                  <a:lnTo>
                    <a:pt x="1320784" y="114443"/>
                  </a:lnTo>
                  <a:lnTo>
                    <a:pt x="1308354" y="114443"/>
                  </a:lnTo>
                  <a:cubicBezTo>
                    <a:pt x="1292352" y="114443"/>
                    <a:pt x="1284351" y="107728"/>
                    <a:pt x="1284351" y="94298"/>
                  </a:cubicBezTo>
                  <a:cubicBezTo>
                    <a:pt x="1284351" y="92298"/>
                    <a:pt x="1284589" y="89773"/>
                    <a:pt x="1285065" y="86725"/>
                  </a:cubicBezTo>
                  <a:lnTo>
                    <a:pt x="1290780" y="55007"/>
                  </a:lnTo>
                  <a:lnTo>
                    <a:pt x="1281065" y="55007"/>
                  </a:lnTo>
                  <a:lnTo>
                    <a:pt x="1284637" y="34719"/>
                  </a:lnTo>
                  <a:lnTo>
                    <a:pt x="1294352" y="34719"/>
                  </a:lnTo>
                  <a:close/>
                  <a:moveTo>
                    <a:pt x="855916" y="14145"/>
                  </a:moveTo>
                  <a:lnTo>
                    <a:pt x="880348" y="14145"/>
                  </a:lnTo>
                  <a:lnTo>
                    <a:pt x="862631" y="114443"/>
                  </a:lnTo>
                  <a:lnTo>
                    <a:pt x="838200" y="114443"/>
                  </a:lnTo>
                  <a:close/>
                  <a:moveTo>
                    <a:pt x="247459" y="14145"/>
                  </a:moveTo>
                  <a:lnTo>
                    <a:pt x="275748" y="14145"/>
                  </a:lnTo>
                  <a:lnTo>
                    <a:pt x="294322" y="114443"/>
                  </a:lnTo>
                  <a:lnTo>
                    <a:pt x="268462" y="114443"/>
                  </a:lnTo>
                  <a:lnTo>
                    <a:pt x="265604" y="96727"/>
                  </a:lnTo>
                  <a:lnTo>
                    <a:pt x="228171" y="96727"/>
                  </a:lnTo>
                  <a:lnTo>
                    <a:pt x="219027" y="114443"/>
                  </a:lnTo>
                  <a:lnTo>
                    <a:pt x="193452" y="114443"/>
                  </a:lnTo>
                  <a:close/>
                  <a:moveTo>
                    <a:pt x="132016" y="14145"/>
                  </a:moveTo>
                  <a:lnTo>
                    <a:pt x="171593" y="14145"/>
                  </a:lnTo>
                  <a:cubicBezTo>
                    <a:pt x="182070" y="14145"/>
                    <a:pt x="189976" y="16455"/>
                    <a:pt x="195310" y="21074"/>
                  </a:cubicBezTo>
                  <a:cubicBezTo>
                    <a:pt x="200644" y="25694"/>
                    <a:pt x="203311" y="31957"/>
                    <a:pt x="203311" y="39862"/>
                  </a:cubicBezTo>
                  <a:cubicBezTo>
                    <a:pt x="203311" y="42244"/>
                    <a:pt x="203120" y="44434"/>
                    <a:pt x="202739" y="46435"/>
                  </a:cubicBezTo>
                  <a:cubicBezTo>
                    <a:pt x="201787" y="52245"/>
                    <a:pt x="199548" y="57555"/>
                    <a:pt x="196024" y="62365"/>
                  </a:cubicBezTo>
                  <a:cubicBezTo>
                    <a:pt x="192500" y="67175"/>
                    <a:pt x="187714" y="71057"/>
                    <a:pt x="181665" y="74010"/>
                  </a:cubicBezTo>
                  <a:cubicBezTo>
                    <a:pt x="175617" y="76962"/>
                    <a:pt x="168497" y="78439"/>
                    <a:pt x="160305" y="78439"/>
                  </a:cubicBezTo>
                  <a:lnTo>
                    <a:pt x="145161" y="78439"/>
                  </a:lnTo>
                  <a:lnTo>
                    <a:pt x="138731" y="114443"/>
                  </a:lnTo>
                  <a:lnTo>
                    <a:pt x="114300" y="114443"/>
                  </a:lnTo>
                  <a:close/>
                  <a:moveTo>
                    <a:pt x="55816" y="14145"/>
                  </a:moveTo>
                  <a:lnTo>
                    <a:pt x="121110" y="14145"/>
                  </a:lnTo>
                  <a:lnTo>
                    <a:pt x="117681" y="33433"/>
                  </a:lnTo>
                  <a:lnTo>
                    <a:pt x="76819" y="33433"/>
                  </a:lnTo>
                  <a:lnTo>
                    <a:pt x="73104" y="55007"/>
                  </a:lnTo>
                  <a:lnTo>
                    <a:pt x="103679" y="55007"/>
                  </a:lnTo>
                  <a:lnTo>
                    <a:pt x="100250" y="73581"/>
                  </a:lnTo>
                  <a:lnTo>
                    <a:pt x="69675" y="73581"/>
                  </a:lnTo>
                  <a:lnTo>
                    <a:pt x="62531" y="114443"/>
                  </a:lnTo>
                  <a:lnTo>
                    <a:pt x="38100" y="114443"/>
                  </a:lnTo>
                  <a:close/>
                  <a:moveTo>
                    <a:pt x="17716" y="14145"/>
                  </a:moveTo>
                  <a:lnTo>
                    <a:pt x="42148" y="14145"/>
                  </a:lnTo>
                  <a:lnTo>
                    <a:pt x="24431" y="114443"/>
                  </a:lnTo>
                  <a:lnTo>
                    <a:pt x="0" y="114443"/>
                  </a:lnTo>
                  <a:close/>
                  <a:moveTo>
                    <a:pt x="407622" y="13002"/>
                  </a:moveTo>
                  <a:cubicBezTo>
                    <a:pt x="419624" y="13002"/>
                    <a:pt x="429268" y="15907"/>
                    <a:pt x="436554" y="21717"/>
                  </a:cubicBezTo>
                  <a:cubicBezTo>
                    <a:pt x="443841" y="27528"/>
                    <a:pt x="447818" y="35576"/>
                    <a:pt x="448484" y="45863"/>
                  </a:cubicBezTo>
                  <a:lnTo>
                    <a:pt x="421624" y="45863"/>
                  </a:lnTo>
                  <a:cubicBezTo>
                    <a:pt x="420386" y="42529"/>
                    <a:pt x="418219" y="39982"/>
                    <a:pt x="415123" y="38219"/>
                  </a:cubicBezTo>
                  <a:cubicBezTo>
                    <a:pt x="412027" y="36457"/>
                    <a:pt x="408241" y="35576"/>
                    <a:pt x="403764" y="35576"/>
                  </a:cubicBezTo>
                  <a:cubicBezTo>
                    <a:pt x="395859" y="35576"/>
                    <a:pt x="389072" y="38172"/>
                    <a:pt x="383405" y="43363"/>
                  </a:cubicBezTo>
                  <a:cubicBezTo>
                    <a:pt x="377737" y="48554"/>
                    <a:pt x="374142" y="55483"/>
                    <a:pt x="372618" y="64151"/>
                  </a:cubicBezTo>
                  <a:cubicBezTo>
                    <a:pt x="372141" y="67009"/>
                    <a:pt x="371903" y="69485"/>
                    <a:pt x="371903" y="71581"/>
                  </a:cubicBezTo>
                  <a:cubicBezTo>
                    <a:pt x="371903" y="78629"/>
                    <a:pt x="373951" y="84058"/>
                    <a:pt x="378047" y="87868"/>
                  </a:cubicBezTo>
                  <a:cubicBezTo>
                    <a:pt x="382143" y="91678"/>
                    <a:pt x="387953" y="93583"/>
                    <a:pt x="395478" y="93583"/>
                  </a:cubicBezTo>
                  <a:cubicBezTo>
                    <a:pt x="401574" y="93583"/>
                    <a:pt x="406955" y="92036"/>
                    <a:pt x="411623" y="88940"/>
                  </a:cubicBezTo>
                  <a:cubicBezTo>
                    <a:pt x="416290" y="85844"/>
                    <a:pt x="420052" y="81439"/>
                    <a:pt x="422910" y="75724"/>
                  </a:cubicBezTo>
                  <a:lnTo>
                    <a:pt x="392049" y="75724"/>
                  </a:lnTo>
                  <a:lnTo>
                    <a:pt x="395049" y="57865"/>
                  </a:lnTo>
                  <a:lnTo>
                    <a:pt x="448199" y="57865"/>
                  </a:lnTo>
                  <a:lnTo>
                    <a:pt x="444198" y="80582"/>
                  </a:lnTo>
                  <a:cubicBezTo>
                    <a:pt x="441341" y="86678"/>
                    <a:pt x="437269" y="92345"/>
                    <a:pt x="431982" y="97584"/>
                  </a:cubicBezTo>
                  <a:cubicBezTo>
                    <a:pt x="426696" y="102823"/>
                    <a:pt x="420433" y="107061"/>
                    <a:pt x="413194" y="110300"/>
                  </a:cubicBezTo>
                  <a:cubicBezTo>
                    <a:pt x="405955" y="113538"/>
                    <a:pt x="398145" y="115158"/>
                    <a:pt x="389763" y="115158"/>
                  </a:cubicBezTo>
                  <a:cubicBezTo>
                    <a:pt x="381095" y="115158"/>
                    <a:pt x="373499" y="113467"/>
                    <a:pt x="366974" y="110086"/>
                  </a:cubicBezTo>
                  <a:cubicBezTo>
                    <a:pt x="360450" y="106704"/>
                    <a:pt x="355449" y="101965"/>
                    <a:pt x="351972" y="95870"/>
                  </a:cubicBezTo>
                  <a:cubicBezTo>
                    <a:pt x="348496" y="89773"/>
                    <a:pt x="346757" y="82677"/>
                    <a:pt x="346757" y="74581"/>
                  </a:cubicBezTo>
                  <a:cubicBezTo>
                    <a:pt x="346757" y="71819"/>
                    <a:pt x="347091" y="68342"/>
                    <a:pt x="347757" y="64151"/>
                  </a:cubicBezTo>
                  <a:cubicBezTo>
                    <a:pt x="349472" y="54245"/>
                    <a:pt x="353163" y="45411"/>
                    <a:pt x="358830" y="37648"/>
                  </a:cubicBezTo>
                  <a:cubicBezTo>
                    <a:pt x="364498" y="29885"/>
                    <a:pt x="371570" y="23837"/>
                    <a:pt x="380047" y="19503"/>
                  </a:cubicBezTo>
                  <a:cubicBezTo>
                    <a:pt x="388524" y="15169"/>
                    <a:pt x="397716" y="13002"/>
                    <a:pt x="407622" y="13002"/>
                  </a:cubicBezTo>
                  <a:close/>
                  <a:moveTo>
                    <a:pt x="1199816" y="8716"/>
                  </a:moveTo>
                  <a:lnTo>
                    <a:pt x="1224248" y="8716"/>
                  </a:lnTo>
                  <a:lnTo>
                    <a:pt x="1217819" y="45292"/>
                  </a:lnTo>
                  <a:cubicBezTo>
                    <a:pt x="1220962" y="41768"/>
                    <a:pt x="1224820" y="38981"/>
                    <a:pt x="1229392" y="36934"/>
                  </a:cubicBezTo>
                  <a:cubicBezTo>
                    <a:pt x="1233964" y="34886"/>
                    <a:pt x="1238917" y="33862"/>
                    <a:pt x="1244251" y="33862"/>
                  </a:cubicBezTo>
                  <a:cubicBezTo>
                    <a:pt x="1252061" y="33862"/>
                    <a:pt x="1258229" y="36100"/>
                    <a:pt x="1262753" y="40577"/>
                  </a:cubicBezTo>
                  <a:cubicBezTo>
                    <a:pt x="1267277" y="45054"/>
                    <a:pt x="1269539" y="51292"/>
                    <a:pt x="1269539" y="59293"/>
                  </a:cubicBezTo>
                  <a:cubicBezTo>
                    <a:pt x="1269539" y="61960"/>
                    <a:pt x="1269254" y="64818"/>
                    <a:pt x="1268682" y="67866"/>
                  </a:cubicBezTo>
                  <a:lnTo>
                    <a:pt x="1260395" y="114443"/>
                  </a:lnTo>
                  <a:lnTo>
                    <a:pt x="1236107" y="114443"/>
                  </a:lnTo>
                  <a:lnTo>
                    <a:pt x="1243822" y="71152"/>
                  </a:lnTo>
                  <a:cubicBezTo>
                    <a:pt x="1244108" y="69533"/>
                    <a:pt x="1244251" y="68104"/>
                    <a:pt x="1244251" y="66866"/>
                  </a:cubicBezTo>
                  <a:cubicBezTo>
                    <a:pt x="1244251" y="62865"/>
                    <a:pt x="1243131" y="59770"/>
                    <a:pt x="1240893" y="57579"/>
                  </a:cubicBezTo>
                  <a:cubicBezTo>
                    <a:pt x="1238655" y="55388"/>
                    <a:pt x="1235535" y="54293"/>
                    <a:pt x="1231535" y="54293"/>
                  </a:cubicBezTo>
                  <a:cubicBezTo>
                    <a:pt x="1226772" y="54293"/>
                    <a:pt x="1222772" y="55769"/>
                    <a:pt x="1219533" y="58722"/>
                  </a:cubicBezTo>
                  <a:cubicBezTo>
                    <a:pt x="1216295" y="61675"/>
                    <a:pt x="1214199" y="65818"/>
                    <a:pt x="1213247" y="71152"/>
                  </a:cubicBezTo>
                  <a:lnTo>
                    <a:pt x="1213247" y="70866"/>
                  </a:lnTo>
                  <a:lnTo>
                    <a:pt x="1205531" y="114443"/>
                  </a:lnTo>
                  <a:lnTo>
                    <a:pt x="1181100" y="114443"/>
                  </a:lnTo>
                  <a:close/>
                  <a:moveTo>
                    <a:pt x="790241" y="8716"/>
                  </a:moveTo>
                  <a:lnTo>
                    <a:pt x="814673" y="8716"/>
                  </a:lnTo>
                  <a:lnTo>
                    <a:pt x="795956" y="114443"/>
                  </a:lnTo>
                  <a:lnTo>
                    <a:pt x="771525" y="114443"/>
                  </a:lnTo>
                  <a:close/>
                  <a:moveTo>
                    <a:pt x="599741" y="8716"/>
                  </a:moveTo>
                  <a:lnTo>
                    <a:pt x="624173" y="8716"/>
                  </a:lnTo>
                  <a:lnTo>
                    <a:pt x="617458" y="46006"/>
                  </a:lnTo>
                  <a:cubicBezTo>
                    <a:pt x="620506" y="42291"/>
                    <a:pt x="624363" y="39291"/>
                    <a:pt x="629031" y="37005"/>
                  </a:cubicBezTo>
                  <a:cubicBezTo>
                    <a:pt x="633698" y="34719"/>
                    <a:pt x="638794" y="33576"/>
                    <a:pt x="644318" y="33576"/>
                  </a:cubicBezTo>
                  <a:cubicBezTo>
                    <a:pt x="652891" y="33576"/>
                    <a:pt x="659820" y="36362"/>
                    <a:pt x="665107" y="41934"/>
                  </a:cubicBezTo>
                  <a:cubicBezTo>
                    <a:pt x="670393" y="47506"/>
                    <a:pt x="673036" y="55102"/>
                    <a:pt x="673036" y="64723"/>
                  </a:cubicBezTo>
                  <a:cubicBezTo>
                    <a:pt x="673036" y="67771"/>
                    <a:pt x="672751" y="71009"/>
                    <a:pt x="672179" y="74438"/>
                  </a:cubicBezTo>
                  <a:cubicBezTo>
                    <a:pt x="670750" y="82630"/>
                    <a:pt x="667940" y="89845"/>
                    <a:pt x="663749" y="96084"/>
                  </a:cubicBezTo>
                  <a:cubicBezTo>
                    <a:pt x="659558" y="102323"/>
                    <a:pt x="654510" y="107133"/>
                    <a:pt x="648605" y="110514"/>
                  </a:cubicBezTo>
                  <a:cubicBezTo>
                    <a:pt x="642699" y="113896"/>
                    <a:pt x="636460" y="115586"/>
                    <a:pt x="629888" y="115586"/>
                  </a:cubicBezTo>
                  <a:cubicBezTo>
                    <a:pt x="624268" y="115586"/>
                    <a:pt x="619553" y="114467"/>
                    <a:pt x="615743" y="112229"/>
                  </a:cubicBezTo>
                  <a:cubicBezTo>
                    <a:pt x="611933" y="109990"/>
                    <a:pt x="609171" y="107014"/>
                    <a:pt x="607457" y="103299"/>
                  </a:cubicBezTo>
                  <a:lnTo>
                    <a:pt x="605456" y="114443"/>
                  </a:lnTo>
                  <a:lnTo>
                    <a:pt x="581025" y="114443"/>
                  </a:lnTo>
                  <a:close/>
                  <a:moveTo>
                    <a:pt x="466391" y="8716"/>
                  </a:moveTo>
                  <a:lnTo>
                    <a:pt x="490823" y="8716"/>
                  </a:lnTo>
                  <a:lnTo>
                    <a:pt x="472106" y="114443"/>
                  </a:lnTo>
                  <a:lnTo>
                    <a:pt x="447675" y="114443"/>
                  </a:lnTo>
                  <a:close/>
                  <a:moveTo>
                    <a:pt x="1080325" y="0"/>
                  </a:moveTo>
                  <a:cubicBezTo>
                    <a:pt x="1084135" y="0"/>
                    <a:pt x="1087136" y="1024"/>
                    <a:pt x="1089326" y="3072"/>
                  </a:cubicBezTo>
                  <a:cubicBezTo>
                    <a:pt x="1091517" y="5120"/>
                    <a:pt x="1092613" y="7763"/>
                    <a:pt x="1092613" y="11002"/>
                  </a:cubicBezTo>
                  <a:cubicBezTo>
                    <a:pt x="1092613" y="15193"/>
                    <a:pt x="1090946" y="18812"/>
                    <a:pt x="1087612" y="21860"/>
                  </a:cubicBezTo>
                  <a:cubicBezTo>
                    <a:pt x="1084278" y="24908"/>
                    <a:pt x="1080278" y="26432"/>
                    <a:pt x="1075610" y="26432"/>
                  </a:cubicBezTo>
                  <a:cubicBezTo>
                    <a:pt x="1071800" y="26432"/>
                    <a:pt x="1068776" y="25408"/>
                    <a:pt x="1066538" y="23360"/>
                  </a:cubicBezTo>
                  <a:cubicBezTo>
                    <a:pt x="1064299" y="21313"/>
                    <a:pt x="1063180" y="18717"/>
                    <a:pt x="1063180" y="15574"/>
                  </a:cubicBezTo>
                  <a:cubicBezTo>
                    <a:pt x="1063180" y="11287"/>
                    <a:pt x="1064847" y="7620"/>
                    <a:pt x="1068181" y="4572"/>
                  </a:cubicBezTo>
                  <a:cubicBezTo>
                    <a:pt x="1071515" y="1524"/>
                    <a:pt x="1075563" y="0"/>
                    <a:pt x="1080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100" b="1" i="1">
                <a:solidFill>
                  <a:schemeClr val="tx1"/>
                </a:solidFill>
                <a:latin typeface="Poppins" panose="00000500000000000000" pitchFamily="2" charset="0"/>
                <a:ea typeface="Verdana" panose="020B0604030504040204" pitchFamily="34" charset="0"/>
                <a:cs typeface="Poppins" panose="00000500000000000000" pitchFamily="2" charset="0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1795DEF-3ED5-BCEE-F713-9DA7610788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2675" y="6703221"/>
              <a:ext cx="292100" cy="0"/>
            </a:xfrm>
            <a:prstGeom prst="line">
              <a:avLst/>
            </a:prstGeom>
            <a:ln w="1270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A844DB2-1067-CF27-A3E6-96E5ECDC4A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35100" y="6703221"/>
              <a:ext cx="431800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E1EE9A5-4162-0D6D-AC8D-F814C6F668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917700" y="6703221"/>
              <a:ext cx="218281" cy="0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0DD651F-78A7-D14F-A764-0325239B43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62188" y="6703221"/>
              <a:ext cx="214312" cy="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7900058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5BD9AA6-9323-A67B-181A-1B89BF266891}"/>
              </a:ext>
            </a:extLst>
          </p:cNvPr>
          <p:cNvCxnSpPr>
            <a:cxnSpLocks/>
          </p:cNvCxnSpPr>
          <p:nvPr userDrawn="1"/>
        </p:nvCxnSpPr>
        <p:spPr>
          <a:xfrm>
            <a:off x="609600" y="6400800"/>
            <a:ext cx="201352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C3FEC6A-1560-E163-7409-DF4E1FB96FF9}"/>
              </a:ext>
            </a:extLst>
          </p:cNvPr>
          <p:cNvSpPr/>
          <p:nvPr userDrawn="1"/>
        </p:nvSpPr>
        <p:spPr>
          <a:xfrm>
            <a:off x="2895600" y="0"/>
            <a:ext cx="92964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0A7011F-24BF-D829-A0C3-7674D766E085}"/>
              </a:ext>
            </a:extLst>
          </p:cNvPr>
          <p:cNvGrpSpPr/>
          <p:nvPr userDrawn="1"/>
        </p:nvGrpSpPr>
        <p:grpSpPr>
          <a:xfrm>
            <a:off x="700087" y="6491287"/>
            <a:ext cx="1788747" cy="276226"/>
            <a:chOff x="700087" y="6491287"/>
            <a:chExt cx="1788747" cy="27622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820869A-86C3-E96E-07B3-B387A67DA3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65732" t="11021" r="9492" b="49461"/>
            <a:stretch/>
          </p:blipFill>
          <p:spPr>
            <a:xfrm>
              <a:off x="700087" y="6491287"/>
              <a:ext cx="276226" cy="276226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72C466-02CE-AEEB-DDD4-BB53C4ADCA95}"/>
                </a:ext>
              </a:extLst>
            </p:cNvPr>
            <p:cNvSpPr txBox="1"/>
            <p:nvPr userDrawn="1"/>
          </p:nvSpPr>
          <p:spPr>
            <a:xfrm>
              <a:off x="1083611" y="6544643"/>
              <a:ext cx="1405223" cy="153734"/>
            </a:xfrm>
            <a:custGeom>
              <a:avLst/>
              <a:gdLst/>
              <a:ahLst/>
              <a:cxnLst/>
              <a:rect l="l" t="t" r="r" b="b"/>
              <a:pathLst>
                <a:path w="1405223" h="153734">
                  <a:moveTo>
                    <a:pt x="1133856" y="54864"/>
                  </a:moveTo>
                  <a:cubicBezTo>
                    <a:pt x="1128998" y="54864"/>
                    <a:pt x="1124569" y="56603"/>
                    <a:pt x="1120568" y="60079"/>
                  </a:cubicBezTo>
                  <a:cubicBezTo>
                    <a:pt x="1116568" y="63556"/>
                    <a:pt x="1114044" y="68342"/>
                    <a:pt x="1112996" y="74438"/>
                  </a:cubicBezTo>
                  <a:cubicBezTo>
                    <a:pt x="1112710" y="76153"/>
                    <a:pt x="1112567" y="77724"/>
                    <a:pt x="1112567" y="79153"/>
                  </a:cubicBezTo>
                  <a:cubicBezTo>
                    <a:pt x="1112567" y="83820"/>
                    <a:pt x="1113925" y="87511"/>
                    <a:pt x="1116639" y="90226"/>
                  </a:cubicBezTo>
                  <a:cubicBezTo>
                    <a:pt x="1119354" y="92941"/>
                    <a:pt x="1122759" y="94298"/>
                    <a:pt x="1126855" y="94298"/>
                  </a:cubicBezTo>
                  <a:cubicBezTo>
                    <a:pt x="1131713" y="94298"/>
                    <a:pt x="1136142" y="92536"/>
                    <a:pt x="1140142" y="89011"/>
                  </a:cubicBezTo>
                  <a:cubicBezTo>
                    <a:pt x="1144143" y="85487"/>
                    <a:pt x="1146715" y="80677"/>
                    <a:pt x="1147858" y="74581"/>
                  </a:cubicBezTo>
                  <a:cubicBezTo>
                    <a:pt x="1148143" y="72867"/>
                    <a:pt x="1148286" y="71295"/>
                    <a:pt x="1148286" y="69866"/>
                  </a:cubicBezTo>
                  <a:cubicBezTo>
                    <a:pt x="1148286" y="65199"/>
                    <a:pt x="1146929" y="61532"/>
                    <a:pt x="1144214" y="58865"/>
                  </a:cubicBezTo>
                  <a:cubicBezTo>
                    <a:pt x="1141500" y="56198"/>
                    <a:pt x="1138047" y="54864"/>
                    <a:pt x="1133856" y="54864"/>
                  </a:cubicBezTo>
                  <a:close/>
                  <a:moveTo>
                    <a:pt x="724281" y="54864"/>
                  </a:moveTo>
                  <a:cubicBezTo>
                    <a:pt x="719423" y="54864"/>
                    <a:pt x="714994" y="56603"/>
                    <a:pt x="710993" y="60079"/>
                  </a:cubicBezTo>
                  <a:cubicBezTo>
                    <a:pt x="706993" y="63556"/>
                    <a:pt x="704469" y="68342"/>
                    <a:pt x="703421" y="74438"/>
                  </a:cubicBezTo>
                  <a:cubicBezTo>
                    <a:pt x="703135" y="76153"/>
                    <a:pt x="702992" y="77724"/>
                    <a:pt x="702992" y="79153"/>
                  </a:cubicBezTo>
                  <a:cubicBezTo>
                    <a:pt x="702992" y="83820"/>
                    <a:pt x="704350" y="87511"/>
                    <a:pt x="707064" y="90226"/>
                  </a:cubicBezTo>
                  <a:cubicBezTo>
                    <a:pt x="709779" y="92941"/>
                    <a:pt x="713184" y="94298"/>
                    <a:pt x="717280" y="94298"/>
                  </a:cubicBezTo>
                  <a:cubicBezTo>
                    <a:pt x="722138" y="94298"/>
                    <a:pt x="726567" y="92536"/>
                    <a:pt x="730567" y="89011"/>
                  </a:cubicBezTo>
                  <a:cubicBezTo>
                    <a:pt x="734568" y="85487"/>
                    <a:pt x="737139" y="80677"/>
                    <a:pt x="738282" y="74581"/>
                  </a:cubicBezTo>
                  <a:cubicBezTo>
                    <a:pt x="738568" y="72867"/>
                    <a:pt x="738711" y="71295"/>
                    <a:pt x="738711" y="69866"/>
                  </a:cubicBezTo>
                  <a:cubicBezTo>
                    <a:pt x="738711" y="65199"/>
                    <a:pt x="737354" y="61532"/>
                    <a:pt x="734639" y="58865"/>
                  </a:cubicBezTo>
                  <a:cubicBezTo>
                    <a:pt x="731925" y="56198"/>
                    <a:pt x="728472" y="54864"/>
                    <a:pt x="724281" y="54864"/>
                  </a:cubicBezTo>
                  <a:close/>
                  <a:moveTo>
                    <a:pt x="633460" y="54864"/>
                  </a:moveTo>
                  <a:cubicBezTo>
                    <a:pt x="628602" y="54864"/>
                    <a:pt x="624173" y="56626"/>
                    <a:pt x="620172" y="60151"/>
                  </a:cubicBezTo>
                  <a:cubicBezTo>
                    <a:pt x="616172" y="63675"/>
                    <a:pt x="613600" y="68485"/>
                    <a:pt x="612457" y="74581"/>
                  </a:cubicBezTo>
                  <a:cubicBezTo>
                    <a:pt x="612172" y="76296"/>
                    <a:pt x="612029" y="77867"/>
                    <a:pt x="612029" y="79296"/>
                  </a:cubicBezTo>
                  <a:cubicBezTo>
                    <a:pt x="612029" y="83963"/>
                    <a:pt x="613362" y="87630"/>
                    <a:pt x="616029" y="90297"/>
                  </a:cubicBezTo>
                  <a:cubicBezTo>
                    <a:pt x="618696" y="92964"/>
                    <a:pt x="622125" y="94298"/>
                    <a:pt x="626316" y="94298"/>
                  </a:cubicBezTo>
                  <a:cubicBezTo>
                    <a:pt x="631174" y="94298"/>
                    <a:pt x="635627" y="92512"/>
                    <a:pt x="639675" y="88940"/>
                  </a:cubicBezTo>
                  <a:cubicBezTo>
                    <a:pt x="643723" y="85368"/>
                    <a:pt x="646319" y="80534"/>
                    <a:pt x="647462" y="74438"/>
                  </a:cubicBezTo>
                  <a:cubicBezTo>
                    <a:pt x="647747" y="72819"/>
                    <a:pt x="647890" y="71343"/>
                    <a:pt x="647890" y="70009"/>
                  </a:cubicBezTo>
                  <a:cubicBezTo>
                    <a:pt x="647890" y="65247"/>
                    <a:pt x="646533" y="61532"/>
                    <a:pt x="643818" y="58865"/>
                  </a:cubicBezTo>
                  <a:cubicBezTo>
                    <a:pt x="641104" y="56198"/>
                    <a:pt x="637651" y="54864"/>
                    <a:pt x="633460" y="54864"/>
                  </a:cubicBezTo>
                  <a:close/>
                  <a:moveTo>
                    <a:pt x="532924" y="54579"/>
                  </a:moveTo>
                  <a:cubicBezTo>
                    <a:pt x="528828" y="54579"/>
                    <a:pt x="525232" y="55793"/>
                    <a:pt x="522136" y="58222"/>
                  </a:cubicBezTo>
                  <a:cubicBezTo>
                    <a:pt x="519041" y="60651"/>
                    <a:pt x="516636" y="63818"/>
                    <a:pt x="514921" y="67723"/>
                  </a:cubicBezTo>
                  <a:cubicBezTo>
                    <a:pt x="513207" y="71628"/>
                    <a:pt x="512349" y="75724"/>
                    <a:pt x="512349" y="80010"/>
                  </a:cubicBezTo>
                  <a:cubicBezTo>
                    <a:pt x="512349" y="84678"/>
                    <a:pt x="513588" y="88273"/>
                    <a:pt x="516064" y="90797"/>
                  </a:cubicBezTo>
                  <a:cubicBezTo>
                    <a:pt x="518541" y="93322"/>
                    <a:pt x="521732" y="94584"/>
                    <a:pt x="525637" y="94584"/>
                  </a:cubicBezTo>
                  <a:cubicBezTo>
                    <a:pt x="529637" y="94584"/>
                    <a:pt x="533233" y="93369"/>
                    <a:pt x="536424" y="90940"/>
                  </a:cubicBezTo>
                  <a:cubicBezTo>
                    <a:pt x="539615" y="88511"/>
                    <a:pt x="542091" y="85368"/>
                    <a:pt x="543853" y="81511"/>
                  </a:cubicBezTo>
                  <a:cubicBezTo>
                    <a:pt x="545616" y="77653"/>
                    <a:pt x="546497" y="73629"/>
                    <a:pt x="546497" y="69438"/>
                  </a:cubicBezTo>
                  <a:cubicBezTo>
                    <a:pt x="546497" y="64675"/>
                    <a:pt x="545211" y="61008"/>
                    <a:pt x="542639" y="58436"/>
                  </a:cubicBezTo>
                  <a:cubicBezTo>
                    <a:pt x="540067" y="55864"/>
                    <a:pt x="536829" y="54579"/>
                    <a:pt x="532924" y="54579"/>
                  </a:cubicBezTo>
                  <a:close/>
                  <a:moveTo>
                    <a:pt x="256889" y="41005"/>
                  </a:moveTo>
                  <a:lnTo>
                    <a:pt x="237744" y="78153"/>
                  </a:lnTo>
                  <a:lnTo>
                    <a:pt x="262747" y="78153"/>
                  </a:lnTo>
                  <a:close/>
                  <a:moveTo>
                    <a:pt x="1061752" y="34719"/>
                  </a:moveTo>
                  <a:lnTo>
                    <a:pt x="1086183" y="34719"/>
                  </a:lnTo>
                  <a:lnTo>
                    <a:pt x="1072181" y="114443"/>
                  </a:lnTo>
                  <a:lnTo>
                    <a:pt x="1047750" y="114443"/>
                  </a:lnTo>
                  <a:close/>
                  <a:moveTo>
                    <a:pt x="939022" y="33862"/>
                  </a:moveTo>
                  <a:cubicBezTo>
                    <a:pt x="947023" y="33862"/>
                    <a:pt x="953309" y="36100"/>
                    <a:pt x="957881" y="40577"/>
                  </a:cubicBezTo>
                  <a:cubicBezTo>
                    <a:pt x="962453" y="45054"/>
                    <a:pt x="964739" y="51292"/>
                    <a:pt x="964739" y="59293"/>
                  </a:cubicBezTo>
                  <a:cubicBezTo>
                    <a:pt x="964739" y="61960"/>
                    <a:pt x="964454" y="64818"/>
                    <a:pt x="963882" y="67866"/>
                  </a:cubicBezTo>
                  <a:lnTo>
                    <a:pt x="955595" y="114443"/>
                  </a:lnTo>
                  <a:lnTo>
                    <a:pt x="931307" y="114443"/>
                  </a:lnTo>
                  <a:lnTo>
                    <a:pt x="939022" y="71152"/>
                  </a:lnTo>
                  <a:cubicBezTo>
                    <a:pt x="939308" y="69533"/>
                    <a:pt x="939451" y="68104"/>
                    <a:pt x="939451" y="66866"/>
                  </a:cubicBezTo>
                  <a:cubicBezTo>
                    <a:pt x="939451" y="62865"/>
                    <a:pt x="938331" y="59770"/>
                    <a:pt x="936093" y="57579"/>
                  </a:cubicBezTo>
                  <a:cubicBezTo>
                    <a:pt x="933854" y="55388"/>
                    <a:pt x="930735" y="54293"/>
                    <a:pt x="926735" y="54293"/>
                  </a:cubicBezTo>
                  <a:cubicBezTo>
                    <a:pt x="921972" y="54293"/>
                    <a:pt x="917972" y="55769"/>
                    <a:pt x="914733" y="58722"/>
                  </a:cubicBezTo>
                  <a:cubicBezTo>
                    <a:pt x="911495" y="61675"/>
                    <a:pt x="909399" y="65818"/>
                    <a:pt x="908447" y="71152"/>
                  </a:cubicBezTo>
                  <a:lnTo>
                    <a:pt x="908447" y="70438"/>
                  </a:lnTo>
                  <a:lnTo>
                    <a:pt x="900731" y="114443"/>
                  </a:lnTo>
                  <a:lnTo>
                    <a:pt x="876300" y="114443"/>
                  </a:lnTo>
                  <a:lnTo>
                    <a:pt x="890301" y="34719"/>
                  </a:lnTo>
                  <a:lnTo>
                    <a:pt x="914733" y="34719"/>
                  </a:lnTo>
                  <a:lnTo>
                    <a:pt x="912876" y="45435"/>
                  </a:lnTo>
                  <a:cubicBezTo>
                    <a:pt x="916019" y="41910"/>
                    <a:pt x="919853" y="39101"/>
                    <a:pt x="924377" y="37005"/>
                  </a:cubicBezTo>
                  <a:cubicBezTo>
                    <a:pt x="928902" y="34909"/>
                    <a:pt x="933783" y="33862"/>
                    <a:pt x="939022" y="33862"/>
                  </a:cubicBezTo>
                  <a:close/>
                  <a:moveTo>
                    <a:pt x="1372790" y="33576"/>
                  </a:moveTo>
                  <a:cubicBezTo>
                    <a:pt x="1379363" y="33576"/>
                    <a:pt x="1385078" y="34648"/>
                    <a:pt x="1389935" y="36791"/>
                  </a:cubicBezTo>
                  <a:cubicBezTo>
                    <a:pt x="1394793" y="38934"/>
                    <a:pt x="1398556" y="41910"/>
                    <a:pt x="1401223" y="45720"/>
                  </a:cubicBezTo>
                  <a:cubicBezTo>
                    <a:pt x="1403890" y="49530"/>
                    <a:pt x="1405223" y="53817"/>
                    <a:pt x="1405223" y="58579"/>
                  </a:cubicBezTo>
                  <a:lnTo>
                    <a:pt x="1405080" y="60722"/>
                  </a:lnTo>
                  <a:lnTo>
                    <a:pt x="1382935" y="60722"/>
                  </a:lnTo>
                  <a:cubicBezTo>
                    <a:pt x="1383125" y="57865"/>
                    <a:pt x="1382268" y="55579"/>
                    <a:pt x="1380363" y="53864"/>
                  </a:cubicBezTo>
                  <a:cubicBezTo>
                    <a:pt x="1378458" y="52150"/>
                    <a:pt x="1375743" y="51292"/>
                    <a:pt x="1372219" y="51292"/>
                  </a:cubicBezTo>
                  <a:cubicBezTo>
                    <a:pt x="1369457" y="51292"/>
                    <a:pt x="1367195" y="51864"/>
                    <a:pt x="1365432" y="53007"/>
                  </a:cubicBezTo>
                  <a:cubicBezTo>
                    <a:pt x="1363670" y="54150"/>
                    <a:pt x="1362789" y="55722"/>
                    <a:pt x="1362789" y="57722"/>
                  </a:cubicBezTo>
                  <a:cubicBezTo>
                    <a:pt x="1362789" y="59817"/>
                    <a:pt x="1363956" y="61556"/>
                    <a:pt x="1366290" y="62937"/>
                  </a:cubicBezTo>
                  <a:cubicBezTo>
                    <a:pt x="1368623" y="64318"/>
                    <a:pt x="1372267" y="65866"/>
                    <a:pt x="1377220" y="67580"/>
                  </a:cubicBezTo>
                  <a:cubicBezTo>
                    <a:pt x="1382363" y="69295"/>
                    <a:pt x="1386625" y="70985"/>
                    <a:pt x="1390007" y="72652"/>
                  </a:cubicBezTo>
                  <a:cubicBezTo>
                    <a:pt x="1393388" y="74319"/>
                    <a:pt x="1396293" y="76653"/>
                    <a:pt x="1398722" y="79653"/>
                  </a:cubicBezTo>
                  <a:cubicBezTo>
                    <a:pt x="1401151" y="82654"/>
                    <a:pt x="1402366" y="86392"/>
                    <a:pt x="1402366" y="90869"/>
                  </a:cubicBezTo>
                  <a:cubicBezTo>
                    <a:pt x="1402366" y="96012"/>
                    <a:pt x="1400818" y="100441"/>
                    <a:pt x="1397722" y="104156"/>
                  </a:cubicBezTo>
                  <a:cubicBezTo>
                    <a:pt x="1394626" y="107871"/>
                    <a:pt x="1390388" y="110705"/>
                    <a:pt x="1385006" y="112657"/>
                  </a:cubicBezTo>
                  <a:cubicBezTo>
                    <a:pt x="1379625" y="114610"/>
                    <a:pt x="1373505" y="115586"/>
                    <a:pt x="1366647" y="115586"/>
                  </a:cubicBezTo>
                  <a:cubicBezTo>
                    <a:pt x="1360360" y="115586"/>
                    <a:pt x="1354717" y="114586"/>
                    <a:pt x="1349716" y="112586"/>
                  </a:cubicBezTo>
                  <a:cubicBezTo>
                    <a:pt x="1344716" y="110586"/>
                    <a:pt x="1340786" y="107800"/>
                    <a:pt x="1337929" y="104228"/>
                  </a:cubicBezTo>
                  <a:cubicBezTo>
                    <a:pt x="1335072" y="100656"/>
                    <a:pt x="1333643" y="96536"/>
                    <a:pt x="1333643" y="91869"/>
                  </a:cubicBezTo>
                  <a:cubicBezTo>
                    <a:pt x="1333643" y="91202"/>
                    <a:pt x="1333738" y="90012"/>
                    <a:pt x="1333928" y="88297"/>
                  </a:cubicBezTo>
                  <a:lnTo>
                    <a:pt x="1357503" y="88297"/>
                  </a:lnTo>
                  <a:cubicBezTo>
                    <a:pt x="1357312" y="91250"/>
                    <a:pt x="1358193" y="93607"/>
                    <a:pt x="1360146" y="95369"/>
                  </a:cubicBezTo>
                  <a:cubicBezTo>
                    <a:pt x="1362099" y="97132"/>
                    <a:pt x="1364885" y="98013"/>
                    <a:pt x="1368504" y="98013"/>
                  </a:cubicBezTo>
                  <a:cubicBezTo>
                    <a:pt x="1371552" y="98013"/>
                    <a:pt x="1374076" y="97441"/>
                    <a:pt x="1376077" y="96298"/>
                  </a:cubicBezTo>
                  <a:cubicBezTo>
                    <a:pt x="1378077" y="95155"/>
                    <a:pt x="1379077" y="93536"/>
                    <a:pt x="1379077" y="91440"/>
                  </a:cubicBezTo>
                  <a:cubicBezTo>
                    <a:pt x="1379077" y="89440"/>
                    <a:pt x="1378005" y="87845"/>
                    <a:pt x="1375862" y="86654"/>
                  </a:cubicBezTo>
                  <a:cubicBezTo>
                    <a:pt x="1373719" y="85463"/>
                    <a:pt x="1370171" y="84011"/>
                    <a:pt x="1365218" y="82296"/>
                  </a:cubicBezTo>
                  <a:cubicBezTo>
                    <a:pt x="1360075" y="80582"/>
                    <a:pt x="1355764" y="78891"/>
                    <a:pt x="1352288" y="77224"/>
                  </a:cubicBezTo>
                  <a:cubicBezTo>
                    <a:pt x="1348811" y="75557"/>
                    <a:pt x="1345835" y="73152"/>
                    <a:pt x="1343358" y="70009"/>
                  </a:cubicBezTo>
                  <a:cubicBezTo>
                    <a:pt x="1340882" y="66866"/>
                    <a:pt x="1339643" y="62913"/>
                    <a:pt x="1339643" y="58150"/>
                  </a:cubicBezTo>
                  <a:cubicBezTo>
                    <a:pt x="1339643" y="53483"/>
                    <a:pt x="1341025" y="49268"/>
                    <a:pt x="1343787" y="45506"/>
                  </a:cubicBezTo>
                  <a:cubicBezTo>
                    <a:pt x="1346549" y="41744"/>
                    <a:pt x="1350431" y="38815"/>
                    <a:pt x="1355431" y="36719"/>
                  </a:cubicBezTo>
                  <a:cubicBezTo>
                    <a:pt x="1360432" y="34624"/>
                    <a:pt x="1366218" y="33576"/>
                    <a:pt x="1372790" y="33576"/>
                  </a:cubicBezTo>
                  <a:close/>
                  <a:moveTo>
                    <a:pt x="1130427" y="33576"/>
                  </a:moveTo>
                  <a:cubicBezTo>
                    <a:pt x="1136047" y="33576"/>
                    <a:pt x="1140809" y="34719"/>
                    <a:pt x="1144714" y="37005"/>
                  </a:cubicBezTo>
                  <a:cubicBezTo>
                    <a:pt x="1148620" y="39291"/>
                    <a:pt x="1151334" y="42291"/>
                    <a:pt x="1152858" y="46006"/>
                  </a:cubicBezTo>
                  <a:lnTo>
                    <a:pt x="1154859" y="34719"/>
                  </a:lnTo>
                  <a:lnTo>
                    <a:pt x="1179290" y="34719"/>
                  </a:lnTo>
                  <a:lnTo>
                    <a:pt x="1165288" y="114300"/>
                  </a:lnTo>
                  <a:cubicBezTo>
                    <a:pt x="1163955" y="121635"/>
                    <a:pt x="1161312" y="128278"/>
                    <a:pt x="1157359" y="134231"/>
                  </a:cubicBezTo>
                  <a:cubicBezTo>
                    <a:pt x="1153406" y="140185"/>
                    <a:pt x="1148120" y="144923"/>
                    <a:pt x="1141500" y="148447"/>
                  </a:cubicBezTo>
                  <a:cubicBezTo>
                    <a:pt x="1134880" y="151972"/>
                    <a:pt x="1127188" y="153734"/>
                    <a:pt x="1118425" y="153734"/>
                  </a:cubicBezTo>
                  <a:cubicBezTo>
                    <a:pt x="1106614" y="153734"/>
                    <a:pt x="1097518" y="150948"/>
                    <a:pt x="1091136" y="145376"/>
                  </a:cubicBezTo>
                  <a:cubicBezTo>
                    <a:pt x="1084754" y="139804"/>
                    <a:pt x="1081897" y="132255"/>
                    <a:pt x="1082564" y="122730"/>
                  </a:cubicBezTo>
                  <a:lnTo>
                    <a:pt x="1106710" y="122730"/>
                  </a:lnTo>
                  <a:cubicBezTo>
                    <a:pt x="1106995" y="125778"/>
                    <a:pt x="1108400" y="128183"/>
                    <a:pt x="1110924" y="129945"/>
                  </a:cubicBezTo>
                  <a:cubicBezTo>
                    <a:pt x="1113448" y="131707"/>
                    <a:pt x="1116806" y="132588"/>
                    <a:pt x="1120997" y="132588"/>
                  </a:cubicBezTo>
                  <a:cubicBezTo>
                    <a:pt x="1126045" y="132588"/>
                    <a:pt x="1130332" y="131136"/>
                    <a:pt x="1133856" y="128231"/>
                  </a:cubicBezTo>
                  <a:cubicBezTo>
                    <a:pt x="1137380" y="125326"/>
                    <a:pt x="1139714" y="120682"/>
                    <a:pt x="1140857" y="114300"/>
                  </a:cubicBezTo>
                  <a:lnTo>
                    <a:pt x="1142857" y="103013"/>
                  </a:lnTo>
                  <a:cubicBezTo>
                    <a:pt x="1139809" y="106728"/>
                    <a:pt x="1135975" y="109752"/>
                    <a:pt x="1131355" y="112086"/>
                  </a:cubicBezTo>
                  <a:cubicBezTo>
                    <a:pt x="1126736" y="114419"/>
                    <a:pt x="1121616" y="115586"/>
                    <a:pt x="1115996" y="115586"/>
                  </a:cubicBezTo>
                  <a:cubicBezTo>
                    <a:pt x="1110377" y="115586"/>
                    <a:pt x="1105400" y="114300"/>
                    <a:pt x="1101066" y="111729"/>
                  </a:cubicBezTo>
                  <a:cubicBezTo>
                    <a:pt x="1096732" y="109157"/>
                    <a:pt x="1093351" y="105490"/>
                    <a:pt x="1090922" y="100727"/>
                  </a:cubicBezTo>
                  <a:cubicBezTo>
                    <a:pt x="1088493" y="95965"/>
                    <a:pt x="1087279" y="90393"/>
                    <a:pt x="1087279" y="84011"/>
                  </a:cubicBezTo>
                  <a:cubicBezTo>
                    <a:pt x="1087279" y="81058"/>
                    <a:pt x="1087564" y="77867"/>
                    <a:pt x="1088136" y="74438"/>
                  </a:cubicBezTo>
                  <a:cubicBezTo>
                    <a:pt x="1089565" y="66247"/>
                    <a:pt x="1092374" y="59055"/>
                    <a:pt x="1096565" y="52864"/>
                  </a:cubicBezTo>
                  <a:cubicBezTo>
                    <a:pt x="1100756" y="46673"/>
                    <a:pt x="1105805" y="41910"/>
                    <a:pt x="1111710" y="38577"/>
                  </a:cubicBezTo>
                  <a:cubicBezTo>
                    <a:pt x="1117616" y="35243"/>
                    <a:pt x="1123855" y="33576"/>
                    <a:pt x="1130427" y="33576"/>
                  </a:cubicBezTo>
                  <a:close/>
                  <a:moveTo>
                    <a:pt x="1010840" y="33576"/>
                  </a:moveTo>
                  <a:cubicBezTo>
                    <a:pt x="1017413" y="33576"/>
                    <a:pt x="1023128" y="34648"/>
                    <a:pt x="1027985" y="36791"/>
                  </a:cubicBezTo>
                  <a:cubicBezTo>
                    <a:pt x="1032843" y="38934"/>
                    <a:pt x="1036606" y="41910"/>
                    <a:pt x="1039273" y="45720"/>
                  </a:cubicBezTo>
                  <a:cubicBezTo>
                    <a:pt x="1041940" y="49530"/>
                    <a:pt x="1043273" y="53817"/>
                    <a:pt x="1043273" y="58579"/>
                  </a:cubicBezTo>
                  <a:lnTo>
                    <a:pt x="1043130" y="60722"/>
                  </a:lnTo>
                  <a:lnTo>
                    <a:pt x="1020985" y="60722"/>
                  </a:lnTo>
                  <a:cubicBezTo>
                    <a:pt x="1021175" y="57865"/>
                    <a:pt x="1020318" y="55579"/>
                    <a:pt x="1018413" y="53864"/>
                  </a:cubicBezTo>
                  <a:cubicBezTo>
                    <a:pt x="1016508" y="52150"/>
                    <a:pt x="1013793" y="51292"/>
                    <a:pt x="1010269" y="51292"/>
                  </a:cubicBezTo>
                  <a:cubicBezTo>
                    <a:pt x="1007506" y="51292"/>
                    <a:pt x="1005244" y="51864"/>
                    <a:pt x="1003482" y="53007"/>
                  </a:cubicBezTo>
                  <a:cubicBezTo>
                    <a:pt x="1001720" y="54150"/>
                    <a:pt x="1000839" y="55722"/>
                    <a:pt x="1000839" y="57722"/>
                  </a:cubicBezTo>
                  <a:cubicBezTo>
                    <a:pt x="1000839" y="59817"/>
                    <a:pt x="1002006" y="61556"/>
                    <a:pt x="1004339" y="62937"/>
                  </a:cubicBezTo>
                  <a:cubicBezTo>
                    <a:pt x="1006673" y="64318"/>
                    <a:pt x="1010316" y="65866"/>
                    <a:pt x="1015270" y="67580"/>
                  </a:cubicBezTo>
                  <a:cubicBezTo>
                    <a:pt x="1020413" y="69295"/>
                    <a:pt x="1024675" y="70985"/>
                    <a:pt x="1028057" y="72652"/>
                  </a:cubicBezTo>
                  <a:cubicBezTo>
                    <a:pt x="1031438" y="74319"/>
                    <a:pt x="1034343" y="76653"/>
                    <a:pt x="1036772" y="79653"/>
                  </a:cubicBezTo>
                  <a:cubicBezTo>
                    <a:pt x="1039201" y="82654"/>
                    <a:pt x="1040416" y="86392"/>
                    <a:pt x="1040416" y="90869"/>
                  </a:cubicBezTo>
                  <a:cubicBezTo>
                    <a:pt x="1040416" y="96012"/>
                    <a:pt x="1038868" y="100441"/>
                    <a:pt x="1035772" y="104156"/>
                  </a:cubicBezTo>
                  <a:cubicBezTo>
                    <a:pt x="1032677" y="107871"/>
                    <a:pt x="1028438" y="110705"/>
                    <a:pt x="1023056" y="112657"/>
                  </a:cubicBezTo>
                  <a:cubicBezTo>
                    <a:pt x="1017675" y="114610"/>
                    <a:pt x="1011555" y="115586"/>
                    <a:pt x="1004697" y="115586"/>
                  </a:cubicBezTo>
                  <a:cubicBezTo>
                    <a:pt x="998410" y="115586"/>
                    <a:pt x="992767" y="114586"/>
                    <a:pt x="987766" y="112586"/>
                  </a:cubicBezTo>
                  <a:cubicBezTo>
                    <a:pt x="982765" y="110586"/>
                    <a:pt x="978836" y="107800"/>
                    <a:pt x="975979" y="104228"/>
                  </a:cubicBezTo>
                  <a:cubicBezTo>
                    <a:pt x="973121" y="100656"/>
                    <a:pt x="971693" y="96536"/>
                    <a:pt x="971693" y="91869"/>
                  </a:cubicBezTo>
                  <a:cubicBezTo>
                    <a:pt x="971693" y="91202"/>
                    <a:pt x="971788" y="90012"/>
                    <a:pt x="971978" y="88297"/>
                  </a:cubicBezTo>
                  <a:lnTo>
                    <a:pt x="995553" y="88297"/>
                  </a:lnTo>
                  <a:cubicBezTo>
                    <a:pt x="995362" y="91250"/>
                    <a:pt x="996243" y="93607"/>
                    <a:pt x="998196" y="95369"/>
                  </a:cubicBezTo>
                  <a:cubicBezTo>
                    <a:pt x="1000148" y="97132"/>
                    <a:pt x="1002935" y="98013"/>
                    <a:pt x="1006554" y="98013"/>
                  </a:cubicBezTo>
                  <a:cubicBezTo>
                    <a:pt x="1009602" y="98013"/>
                    <a:pt x="1012126" y="97441"/>
                    <a:pt x="1014127" y="96298"/>
                  </a:cubicBezTo>
                  <a:cubicBezTo>
                    <a:pt x="1016127" y="95155"/>
                    <a:pt x="1017127" y="93536"/>
                    <a:pt x="1017127" y="91440"/>
                  </a:cubicBezTo>
                  <a:cubicBezTo>
                    <a:pt x="1017127" y="89440"/>
                    <a:pt x="1016055" y="87845"/>
                    <a:pt x="1013912" y="86654"/>
                  </a:cubicBezTo>
                  <a:cubicBezTo>
                    <a:pt x="1011769" y="85463"/>
                    <a:pt x="1008221" y="84011"/>
                    <a:pt x="1003268" y="82296"/>
                  </a:cubicBezTo>
                  <a:cubicBezTo>
                    <a:pt x="998124" y="80582"/>
                    <a:pt x="993814" y="78891"/>
                    <a:pt x="990338" y="77224"/>
                  </a:cubicBezTo>
                  <a:cubicBezTo>
                    <a:pt x="986861" y="75557"/>
                    <a:pt x="983885" y="73152"/>
                    <a:pt x="981408" y="70009"/>
                  </a:cubicBezTo>
                  <a:cubicBezTo>
                    <a:pt x="978931" y="66866"/>
                    <a:pt x="977693" y="62913"/>
                    <a:pt x="977693" y="58150"/>
                  </a:cubicBezTo>
                  <a:cubicBezTo>
                    <a:pt x="977693" y="53483"/>
                    <a:pt x="979074" y="49268"/>
                    <a:pt x="981837" y="45506"/>
                  </a:cubicBezTo>
                  <a:cubicBezTo>
                    <a:pt x="984599" y="41744"/>
                    <a:pt x="988480" y="38815"/>
                    <a:pt x="993481" y="36719"/>
                  </a:cubicBezTo>
                  <a:cubicBezTo>
                    <a:pt x="998482" y="34624"/>
                    <a:pt x="1004268" y="33576"/>
                    <a:pt x="1010840" y="33576"/>
                  </a:cubicBezTo>
                  <a:close/>
                  <a:moveTo>
                    <a:pt x="720852" y="33576"/>
                  </a:moveTo>
                  <a:cubicBezTo>
                    <a:pt x="726472" y="33576"/>
                    <a:pt x="731186" y="34719"/>
                    <a:pt x="734996" y="37005"/>
                  </a:cubicBezTo>
                  <a:cubicBezTo>
                    <a:pt x="738806" y="39291"/>
                    <a:pt x="741569" y="42291"/>
                    <a:pt x="743283" y="46006"/>
                  </a:cubicBezTo>
                  <a:lnTo>
                    <a:pt x="745283" y="34719"/>
                  </a:lnTo>
                  <a:lnTo>
                    <a:pt x="769715" y="34719"/>
                  </a:lnTo>
                  <a:lnTo>
                    <a:pt x="755570" y="114443"/>
                  </a:lnTo>
                  <a:lnTo>
                    <a:pt x="731139" y="114443"/>
                  </a:lnTo>
                  <a:lnTo>
                    <a:pt x="733282" y="103156"/>
                  </a:lnTo>
                  <a:cubicBezTo>
                    <a:pt x="730234" y="106871"/>
                    <a:pt x="726376" y="109871"/>
                    <a:pt x="721709" y="112157"/>
                  </a:cubicBezTo>
                  <a:cubicBezTo>
                    <a:pt x="717042" y="114443"/>
                    <a:pt x="711898" y="115586"/>
                    <a:pt x="706278" y="115586"/>
                  </a:cubicBezTo>
                  <a:cubicBezTo>
                    <a:pt x="700659" y="115586"/>
                    <a:pt x="695682" y="114300"/>
                    <a:pt x="691348" y="111729"/>
                  </a:cubicBezTo>
                  <a:cubicBezTo>
                    <a:pt x="687014" y="109157"/>
                    <a:pt x="683657" y="105514"/>
                    <a:pt x="681275" y="100799"/>
                  </a:cubicBezTo>
                  <a:cubicBezTo>
                    <a:pt x="678894" y="96084"/>
                    <a:pt x="677703" y="90535"/>
                    <a:pt x="677703" y="84154"/>
                  </a:cubicBezTo>
                  <a:cubicBezTo>
                    <a:pt x="677703" y="81106"/>
                    <a:pt x="677989" y="77867"/>
                    <a:pt x="678561" y="74438"/>
                  </a:cubicBezTo>
                  <a:cubicBezTo>
                    <a:pt x="679989" y="66247"/>
                    <a:pt x="682799" y="59055"/>
                    <a:pt x="686990" y="52864"/>
                  </a:cubicBezTo>
                  <a:cubicBezTo>
                    <a:pt x="691181" y="46673"/>
                    <a:pt x="696230" y="41910"/>
                    <a:pt x="702135" y="38577"/>
                  </a:cubicBezTo>
                  <a:cubicBezTo>
                    <a:pt x="708041" y="35243"/>
                    <a:pt x="714280" y="33576"/>
                    <a:pt x="720852" y="33576"/>
                  </a:cubicBezTo>
                  <a:close/>
                  <a:moveTo>
                    <a:pt x="536495" y="33576"/>
                  </a:moveTo>
                  <a:cubicBezTo>
                    <a:pt x="543353" y="33576"/>
                    <a:pt x="549473" y="34981"/>
                    <a:pt x="554855" y="37791"/>
                  </a:cubicBezTo>
                  <a:cubicBezTo>
                    <a:pt x="560236" y="40601"/>
                    <a:pt x="564404" y="44530"/>
                    <a:pt x="567356" y="49578"/>
                  </a:cubicBezTo>
                  <a:cubicBezTo>
                    <a:pt x="570309" y="54626"/>
                    <a:pt x="571785" y="60484"/>
                    <a:pt x="571785" y="67152"/>
                  </a:cubicBezTo>
                  <a:cubicBezTo>
                    <a:pt x="571785" y="76296"/>
                    <a:pt x="569619" y="84559"/>
                    <a:pt x="565285" y="91940"/>
                  </a:cubicBezTo>
                  <a:cubicBezTo>
                    <a:pt x="560951" y="99322"/>
                    <a:pt x="554998" y="105109"/>
                    <a:pt x="547425" y="109300"/>
                  </a:cubicBezTo>
                  <a:cubicBezTo>
                    <a:pt x="539853" y="113491"/>
                    <a:pt x="531447" y="115586"/>
                    <a:pt x="522208" y="115586"/>
                  </a:cubicBezTo>
                  <a:cubicBezTo>
                    <a:pt x="515350" y="115586"/>
                    <a:pt x="509254" y="114205"/>
                    <a:pt x="503920" y="111443"/>
                  </a:cubicBezTo>
                  <a:cubicBezTo>
                    <a:pt x="498586" y="108681"/>
                    <a:pt x="494466" y="104775"/>
                    <a:pt x="491561" y="99727"/>
                  </a:cubicBezTo>
                  <a:cubicBezTo>
                    <a:pt x="488656" y="94679"/>
                    <a:pt x="487203" y="88821"/>
                    <a:pt x="487203" y="82153"/>
                  </a:cubicBezTo>
                  <a:cubicBezTo>
                    <a:pt x="487203" y="73105"/>
                    <a:pt x="489347" y="64866"/>
                    <a:pt x="493633" y="57436"/>
                  </a:cubicBezTo>
                  <a:cubicBezTo>
                    <a:pt x="497919" y="50007"/>
                    <a:pt x="503825" y="44173"/>
                    <a:pt x="511349" y="39934"/>
                  </a:cubicBezTo>
                  <a:cubicBezTo>
                    <a:pt x="518874" y="35695"/>
                    <a:pt x="527256" y="33576"/>
                    <a:pt x="536495" y="33576"/>
                  </a:cubicBezTo>
                  <a:close/>
                  <a:moveTo>
                    <a:pt x="153019" y="33576"/>
                  </a:moveTo>
                  <a:lnTo>
                    <a:pt x="148590" y="59293"/>
                  </a:lnTo>
                  <a:lnTo>
                    <a:pt x="161734" y="59293"/>
                  </a:lnTo>
                  <a:cubicBezTo>
                    <a:pt x="170878" y="59293"/>
                    <a:pt x="176260" y="55007"/>
                    <a:pt x="177879" y="46435"/>
                  </a:cubicBezTo>
                  <a:cubicBezTo>
                    <a:pt x="178070" y="44911"/>
                    <a:pt x="178165" y="43815"/>
                    <a:pt x="178165" y="43149"/>
                  </a:cubicBezTo>
                  <a:cubicBezTo>
                    <a:pt x="178165" y="40101"/>
                    <a:pt x="177189" y="37743"/>
                    <a:pt x="175236" y="36076"/>
                  </a:cubicBezTo>
                  <a:cubicBezTo>
                    <a:pt x="173283" y="34409"/>
                    <a:pt x="170307" y="33576"/>
                    <a:pt x="166306" y="33576"/>
                  </a:cubicBezTo>
                  <a:close/>
                  <a:moveTo>
                    <a:pt x="1297781" y="15288"/>
                  </a:moveTo>
                  <a:lnTo>
                    <a:pt x="1322213" y="15288"/>
                  </a:lnTo>
                  <a:lnTo>
                    <a:pt x="1318784" y="34719"/>
                  </a:lnTo>
                  <a:lnTo>
                    <a:pt x="1334786" y="34719"/>
                  </a:lnTo>
                  <a:lnTo>
                    <a:pt x="1331214" y="55007"/>
                  </a:lnTo>
                  <a:lnTo>
                    <a:pt x="1315212" y="55007"/>
                  </a:lnTo>
                  <a:lnTo>
                    <a:pt x="1309497" y="87011"/>
                  </a:lnTo>
                  <a:cubicBezTo>
                    <a:pt x="1309402" y="87487"/>
                    <a:pt x="1309354" y="88107"/>
                    <a:pt x="1309354" y="88869"/>
                  </a:cubicBezTo>
                  <a:cubicBezTo>
                    <a:pt x="1309354" y="90583"/>
                    <a:pt x="1309854" y="91821"/>
                    <a:pt x="1310854" y="92583"/>
                  </a:cubicBezTo>
                  <a:cubicBezTo>
                    <a:pt x="1311854" y="93345"/>
                    <a:pt x="1313497" y="93726"/>
                    <a:pt x="1315783" y="93726"/>
                  </a:cubicBezTo>
                  <a:lnTo>
                    <a:pt x="1324499" y="93726"/>
                  </a:lnTo>
                  <a:lnTo>
                    <a:pt x="1320784" y="114443"/>
                  </a:lnTo>
                  <a:lnTo>
                    <a:pt x="1308354" y="114443"/>
                  </a:lnTo>
                  <a:cubicBezTo>
                    <a:pt x="1292352" y="114443"/>
                    <a:pt x="1284351" y="107728"/>
                    <a:pt x="1284351" y="94298"/>
                  </a:cubicBezTo>
                  <a:cubicBezTo>
                    <a:pt x="1284351" y="92298"/>
                    <a:pt x="1284589" y="89773"/>
                    <a:pt x="1285065" y="86725"/>
                  </a:cubicBezTo>
                  <a:lnTo>
                    <a:pt x="1290780" y="55007"/>
                  </a:lnTo>
                  <a:lnTo>
                    <a:pt x="1281065" y="55007"/>
                  </a:lnTo>
                  <a:lnTo>
                    <a:pt x="1284637" y="34719"/>
                  </a:lnTo>
                  <a:lnTo>
                    <a:pt x="1294352" y="34719"/>
                  </a:lnTo>
                  <a:close/>
                  <a:moveTo>
                    <a:pt x="855916" y="14145"/>
                  </a:moveTo>
                  <a:lnTo>
                    <a:pt x="880348" y="14145"/>
                  </a:lnTo>
                  <a:lnTo>
                    <a:pt x="862631" y="114443"/>
                  </a:lnTo>
                  <a:lnTo>
                    <a:pt x="838200" y="114443"/>
                  </a:lnTo>
                  <a:close/>
                  <a:moveTo>
                    <a:pt x="247459" y="14145"/>
                  </a:moveTo>
                  <a:lnTo>
                    <a:pt x="275748" y="14145"/>
                  </a:lnTo>
                  <a:lnTo>
                    <a:pt x="294322" y="114443"/>
                  </a:lnTo>
                  <a:lnTo>
                    <a:pt x="268462" y="114443"/>
                  </a:lnTo>
                  <a:lnTo>
                    <a:pt x="265604" y="96727"/>
                  </a:lnTo>
                  <a:lnTo>
                    <a:pt x="228171" y="96727"/>
                  </a:lnTo>
                  <a:lnTo>
                    <a:pt x="219027" y="114443"/>
                  </a:lnTo>
                  <a:lnTo>
                    <a:pt x="193452" y="114443"/>
                  </a:lnTo>
                  <a:close/>
                  <a:moveTo>
                    <a:pt x="132016" y="14145"/>
                  </a:moveTo>
                  <a:lnTo>
                    <a:pt x="171593" y="14145"/>
                  </a:lnTo>
                  <a:cubicBezTo>
                    <a:pt x="182070" y="14145"/>
                    <a:pt x="189976" y="16455"/>
                    <a:pt x="195310" y="21074"/>
                  </a:cubicBezTo>
                  <a:cubicBezTo>
                    <a:pt x="200644" y="25694"/>
                    <a:pt x="203311" y="31957"/>
                    <a:pt x="203311" y="39862"/>
                  </a:cubicBezTo>
                  <a:cubicBezTo>
                    <a:pt x="203311" y="42244"/>
                    <a:pt x="203120" y="44434"/>
                    <a:pt x="202739" y="46435"/>
                  </a:cubicBezTo>
                  <a:cubicBezTo>
                    <a:pt x="201787" y="52245"/>
                    <a:pt x="199548" y="57555"/>
                    <a:pt x="196024" y="62365"/>
                  </a:cubicBezTo>
                  <a:cubicBezTo>
                    <a:pt x="192500" y="67175"/>
                    <a:pt x="187714" y="71057"/>
                    <a:pt x="181665" y="74010"/>
                  </a:cubicBezTo>
                  <a:cubicBezTo>
                    <a:pt x="175617" y="76962"/>
                    <a:pt x="168497" y="78439"/>
                    <a:pt x="160305" y="78439"/>
                  </a:cubicBezTo>
                  <a:lnTo>
                    <a:pt x="145161" y="78439"/>
                  </a:lnTo>
                  <a:lnTo>
                    <a:pt x="138731" y="114443"/>
                  </a:lnTo>
                  <a:lnTo>
                    <a:pt x="114300" y="114443"/>
                  </a:lnTo>
                  <a:close/>
                  <a:moveTo>
                    <a:pt x="55816" y="14145"/>
                  </a:moveTo>
                  <a:lnTo>
                    <a:pt x="121110" y="14145"/>
                  </a:lnTo>
                  <a:lnTo>
                    <a:pt x="117681" y="33433"/>
                  </a:lnTo>
                  <a:lnTo>
                    <a:pt x="76819" y="33433"/>
                  </a:lnTo>
                  <a:lnTo>
                    <a:pt x="73104" y="55007"/>
                  </a:lnTo>
                  <a:lnTo>
                    <a:pt x="103679" y="55007"/>
                  </a:lnTo>
                  <a:lnTo>
                    <a:pt x="100250" y="73581"/>
                  </a:lnTo>
                  <a:lnTo>
                    <a:pt x="69675" y="73581"/>
                  </a:lnTo>
                  <a:lnTo>
                    <a:pt x="62531" y="114443"/>
                  </a:lnTo>
                  <a:lnTo>
                    <a:pt x="38100" y="114443"/>
                  </a:lnTo>
                  <a:close/>
                  <a:moveTo>
                    <a:pt x="17716" y="14145"/>
                  </a:moveTo>
                  <a:lnTo>
                    <a:pt x="42148" y="14145"/>
                  </a:lnTo>
                  <a:lnTo>
                    <a:pt x="24431" y="114443"/>
                  </a:lnTo>
                  <a:lnTo>
                    <a:pt x="0" y="114443"/>
                  </a:lnTo>
                  <a:close/>
                  <a:moveTo>
                    <a:pt x="407622" y="13002"/>
                  </a:moveTo>
                  <a:cubicBezTo>
                    <a:pt x="419624" y="13002"/>
                    <a:pt x="429268" y="15907"/>
                    <a:pt x="436554" y="21717"/>
                  </a:cubicBezTo>
                  <a:cubicBezTo>
                    <a:pt x="443841" y="27528"/>
                    <a:pt x="447818" y="35576"/>
                    <a:pt x="448484" y="45863"/>
                  </a:cubicBezTo>
                  <a:lnTo>
                    <a:pt x="421624" y="45863"/>
                  </a:lnTo>
                  <a:cubicBezTo>
                    <a:pt x="420386" y="42529"/>
                    <a:pt x="418219" y="39982"/>
                    <a:pt x="415123" y="38219"/>
                  </a:cubicBezTo>
                  <a:cubicBezTo>
                    <a:pt x="412027" y="36457"/>
                    <a:pt x="408241" y="35576"/>
                    <a:pt x="403764" y="35576"/>
                  </a:cubicBezTo>
                  <a:cubicBezTo>
                    <a:pt x="395859" y="35576"/>
                    <a:pt x="389072" y="38172"/>
                    <a:pt x="383405" y="43363"/>
                  </a:cubicBezTo>
                  <a:cubicBezTo>
                    <a:pt x="377737" y="48554"/>
                    <a:pt x="374142" y="55483"/>
                    <a:pt x="372618" y="64151"/>
                  </a:cubicBezTo>
                  <a:cubicBezTo>
                    <a:pt x="372141" y="67009"/>
                    <a:pt x="371903" y="69485"/>
                    <a:pt x="371903" y="71581"/>
                  </a:cubicBezTo>
                  <a:cubicBezTo>
                    <a:pt x="371903" y="78629"/>
                    <a:pt x="373951" y="84058"/>
                    <a:pt x="378047" y="87868"/>
                  </a:cubicBezTo>
                  <a:cubicBezTo>
                    <a:pt x="382143" y="91678"/>
                    <a:pt x="387953" y="93583"/>
                    <a:pt x="395478" y="93583"/>
                  </a:cubicBezTo>
                  <a:cubicBezTo>
                    <a:pt x="401574" y="93583"/>
                    <a:pt x="406955" y="92036"/>
                    <a:pt x="411623" y="88940"/>
                  </a:cubicBezTo>
                  <a:cubicBezTo>
                    <a:pt x="416290" y="85844"/>
                    <a:pt x="420052" y="81439"/>
                    <a:pt x="422910" y="75724"/>
                  </a:cubicBezTo>
                  <a:lnTo>
                    <a:pt x="392049" y="75724"/>
                  </a:lnTo>
                  <a:lnTo>
                    <a:pt x="395049" y="57865"/>
                  </a:lnTo>
                  <a:lnTo>
                    <a:pt x="448199" y="57865"/>
                  </a:lnTo>
                  <a:lnTo>
                    <a:pt x="444198" y="80582"/>
                  </a:lnTo>
                  <a:cubicBezTo>
                    <a:pt x="441341" y="86678"/>
                    <a:pt x="437269" y="92345"/>
                    <a:pt x="431982" y="97584"/>
                  </a:cubicBezTo>
                  <a:cubicBezTo>
                    <a:pt x="426696" y="102823"/>
                    <a:pt x="420433" y="107061"/>
                    <a:pt x="413194" y="110300"/>
                  </a:cubicBezTo>
                  <a:cubicBezTo>
                    <a:pt x="405955" y="113538"/>
                    <a:pt x="398145" y="115158"/>
                    <a:pt x="389763" y="115158"/>
                  </a:cubicBezTo>
                  <a:cubicBezTo>
                    <a:pt x="381095" y="115158"/>
                    <a:pt x="373499" y="113467"/>
                    <a:pt x="366974" y="110086"/>
                  </a:cubicBezTo>
                  <a:cubicBezTo>
                    <a:pt x="360450" y="106704"/>
                    <a:pt x="355449" y="101965"/>
                    <a:pt x="351972" y="95870"/>
                  </a:cubicBezTo>
                  <a:cubicBezTo>
                    <a:pt x="348496" y="89773"/>
                    <a:pt x="346757" y="82677"/>
                    <a:pt x="346757" y="74581"/>
                  </a:cubicBezTo>
                  <a:cubicBezTo>
                    <a:pt x="346757" y="71819"/>
                    <a:pt x="347091" y="68342"/>
                    <a:pt x="347757" y="64151"/>
                  </a:cubicBezTo>
                  <a:cubicBezTo>
                    <a:pt x="349472" y="54245"/>
                    <a:pt x="353163" y="45411"/>
                    <a:pt x="358830" y="37648"/>
                  </a:cubicBezTo>
                  <a:cubicBezTo>
                    <a:pt x="364498" y="29885"/>
                    <a:pt x="371570" y="23837"/>
                    <a:pt x="380047" y="19503"/>
                  </a:cubicBezTo>
                  <a:cubicBezTo>
                    <a:pt x="388524" y="15169"/>
                    <a:pt x="397716" y="13002"/>
                    <a:pt x="407622" y="13002"/>
                  </a:cubicBezTo>
                  <a:close/>
                  <a:moveTo>
                    <a:pt x="1199816" y="8716"/>
                  </a:moveTo>
                  <a:lnTo>
                    <a:pt x="1224248" y="8716"/>
                  </a:lnTo>
                  <a:lnTo>
                    <a:pt x="1217819" y="45292"/>
                  </a:lnTo>
                  <a:cubicBezTo>
                    <a:pt x="1220962" y="41768"/>
                    <a:pt x="1224820" y="38981"/>
                    <a:pt x="1229392" y="36934"/>
                  </a:cubicBezTo>
                  <a:cubicBezTo>
                    <a:pt x="1233964" y="34886"/>
                    <a:pt x="1238917" y="33862"/>
                    <a:pt x="1244251" y="33862"/>
                  </a:cubicBezTo>
                  <a:cubicBezTo>
                    <a:pt x="1252061" y="33862"/>
                    <a:pt x="1258229" y="36100"/>
                    <a:pt x="1262753" y="40577"/>
                  </a:cubicBezTo>
                  <a:cubicBezTo>
                    <a:pt x="1267277" y="45054"/>
                    <a:pt x="1269539" y="51292"/>
                    <a:pt x="1269539" y="59293"/>
                  </a:cubicBezTo>
                  <a:cubicBezTo>
                    <a:pt x="1269539" y="61960"/>
                    <a:pt x="1269254" y="64818"/>
                    <a:pt x="1268682" y="67866"/>
                  </a:cubicBezTo>
                  <a:lnTo>
                    <a:pt x="1260395" y="114443"/>
                  </a:lnTo>
                  <a:lnTo>
                    <a:pt x="1236107" y="114443"/>
                  </a:lnTo>
                  <a:lnTo>
                    <a:pt x="1243822" y="71152"/>
                  </a:lnTo>
                  <a:cubicBezTo>
                    <a:pt x="1244108" y="69533"/>
                    <a:pt x="1244251" y="68104"/>
                    <a:pt x="1244251" y="66866"/>
                  </a:cubicBezTo>
                  <a:cubicBezTo>
                    <a:pt x="1244251" y="62865"/>
                    <a:pt x="1243131" y="59770"/>
                    <a:pt x="1240893" y="57579"/>
                  </a:cubicBezTo>
                  <a:cubicBezTo>
                    <a:pt x="1238655" y="55388"/>
                    <a:pt x="1235535" y="54293"/>
                    <a:pt x="1231535" y="54293"/>
                  </a:cubicBezTo>
                  <a:cubicBezTo>
                    <a:pt x="1226772" y="54293"/>
                    <a:pt x="1222772" y="55769"/>
                    <a:pt x="1219533" y="58722"/>
                  </a:cubicBezTo>
                  <a:cubicBezTo>
                    <a:pt x="1216295" y="61675"/>
                    <a:pt x="1214199" y="65818"/>
                    <a:pt x="1213247" y="71152"/>
                  </a:cubicBezTo>
                  <a:lnTo>
                    <a:pt x="1213247" y="70866"/>
                  </a:lnTo>
                  <a:lnTo>
                    <a:pt x="1205531" y="114443"/>
                  </a:lnTo>
                  <a:lnTo>
                    <a:pt x="1181100" y="114443"/>
                  </a:lnTo>
                  <a:close/>
                  <a:moveTo>
                    <a:pt x="790241" y="8716"/>
                  </a:moveTo>
                  <a:lnTo>
                    <a:pt x="814673" y="8716"/>
                  </a:lnTo>
                  <a:lnTo>
                    <a:pt x="795956" y="114443"/>
                  </a:lnTo>
                  <a:lnTo>
                    <a:pt x="771525" y="114443"/>
                  </a:lnTo>
                  <a:close/>
                  <a:moveTo>
                    <a:pt x="599741" y="8716"/>
                  </a:moveTo>
                  <a:lnTo>
                    <a:pt x="624173" y="8716"/>
                  </a:lnTo>
                  <a:lnTo>
                    <a:pt x="617458" y="46006"/>
                  </a:lnTo>
                  <a:cubicBezTo>
                    <a:pt x="620506" y="42291"/>
                    <a:pt x="624363" y="39291"/>
                    <a:pt x="629031" y="37005"/>
                  </a:cubicBezTo>
                  <a:cubicBezTo>
                    <a:pt x="633698" y="34719"/>
                    <a:pt x="638794" y="33576"/>
                    <a:pt x="644318" y="33576"/>
                  </a:cubicBezTo>
                  <a:cubicBezTo>
                    <a:pt x="652891" y="33576"/>
                    <a:pt x="659820" y="36362"/>
                    <a:pt x="665107" y="41934"/>
                  </a:cubicBezTo>
                  <a:cubicBezTo>
                    <a:pt x="670393" y="47506"/>
                    <a:pt x="673036" y="55102"/>
                    <a:pt x="673036" y="64723"/>
                  </a:cubicBezTo>
                  <a:cubicBezTo>
                    <a:pt x="673036" y="67771"/>
                    <a:pt x="672751" y="71009"/>
                    <a:pt x="672179" y="74438"/>
                  </a:cubicBezTo>
                  <a:cubicBezTo>
                    <a:pt x="670750" y="82630"/>
                    <a:pt x="667940" y="89845"/>
                    <a:pt x="663749" y="96084"/>
                  </a:cubicBezTo>
                  <a:cubicBezTo>
                    <a:pt x="659558" y="102323"/>
                    <a:pt x="654510" y="107133"/>
                    <a:pt x="648605" y="110514"/>
                  </a:cubicBezTo>
                  <a:cubicBezTo>
                    <a:pt x="642699" y="113896"/>
                    <a:pt x="636460" y="115586"/>
                    <a:pt x="629888" y="115586"/>
                  </a:cubicBezTo>
                  <a:cubicBezTo>
                    <a:pt x="624268" y="115586"/>
                    <a:pt x="619553" y="114467"/>
                    <a:pt x="615743" y="112229"/>
                  </a:cubicBezTo>
                  <a:cubicBezTo>
                    <a:pt x="611933" y="109990"/>
                    <a:pt x="609171" y="107014"/>
                    <a:pt x="607457" y="103299"/>
                  </a:cubicBezTo>
                  <a:lnTo>
                    <a:pt x="605456" y="114443"/>
                  </a:lnTo>
                  <a:lnTo>
                    <a:pt x="581025" y="114443"/>
                  </a:lnTo>
                  <a:close/>
                  <a:moveTo>
                    <a:pt x="466391" y="8716"/>
                  </a:moveTo>
                  <a:lnTo>
                    <a:pt x="490823" y="8716"/>
                  </a:lnTo>
                  <a:lnTo>
                    <a:pt x="472106" y="114443"/>
                  </a:lnTo>
                  <a:lnTo>
                    <a:pt x="447675" y="114443"/>
                  </a:lnTo>
                  <a:close/>
                  <a:moveTo>
                    <a:pt x="1080325" y="0"/>
                  </a:moveTo>
                  <a:cubicBezTo>
                    <a:pt x="1084135" y="0"/>
                    <a:pt x="1087136" y="1024"/>
                    <a:pt x="1089326" y="3072"/>
                  </a:cubicBezTo>
                  <a:cubicBezTo>
                    <a:pt x="1091517" y="5120"/>
                    <a:pt x="1092613" y="7763"/>
                    <a:pt x="1092613" y="11002"/>
                  </a:cubicBezTo>
                  <a:cubicBezTo>
                    <a:pt x="1092613" y="15193"/>
                    <a:pt x="1090946" y="18812"/>
                    <a:pt x="1087612" y="21860"/>
                  </a:cubicBezTo>
                  <a:cubicBezTo>
                    <a:pt x="1084278" y="24908"/>
                    <a:pt x="1080278" y="26432"/>
                    <a:pt x="1075610" y="26432"/>
                  </a:cubicBezTo>
                  <a:cubicBezTo>
                    <a:pt x="1071800" y="26432"/>
                    <a:pt x="1068776" y="25408"/>
                    <a:pt x="1066538" y="23360"/>
                  </a:cubicBezTo>
                  <a:cubicBezTo>
                    <a:pt x="1064299" y="21313"/>
                    <a:pt x="1063180" y="18717"/>
                    <a:pt x="1063180" y="15574"/>
                  </a:cubicBezTo>
                  <a:cubicBezTo>
                    <a:pt x="1063180" y="11287"/>
                    <a:pt x="1064847" y="7620"/>
                    <a:pt x="1068181" y="4572"/>
                  </a:cubicBezTo>
                  <a:cubicBezTo>
                    <a:pt x="1071515" y="1524"/>
                    <a:pt x="1075563" y="0"/>
                    <a:pt x="1080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100" b="1" i="1">
                <a:solidFill>
                  <a:schemeClr val="tx1"/>
                </a:solidFill>
                <a:latin typeface="Poppins" panose="00000500000000000000" pitchFamily="2" charset="0"/>
                <a:ea typeface="Verdana" panose="020B0604030504040204" pitchFamily="34" charset="0"/>
                <a:cs typeface="Poppins" panose="00000500000000000000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CE87CC6-7FA4-728E-D92F-05E79673E6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2675" y="6703221"/>
              <a:ext cx="292100" cy="0"/>
            </a:xfrm>
            <a:prstGeom prst="line">
              <a:avLst/>
            </a:prstGeom>
            <a:ln w="1270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F7CDE06-AB5A-025C-0F01-7128ECB359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35100" y="6703221"/>
              <a:ext cx="431800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272C9E6-1086-A7D3-3075-99368ABBDD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917700" y="6703221"/>
              <a:ext cx="218281" cy="0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C46BD18-17DA-EF7C-5576-033E0FA1D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62188" y="6703221"/>
              <a:ext cx="214312" cy="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662088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5BD9AA6-9323-A67B-181A-1B89BF266891}"/>
              </a:ext>
            </a:extLst>
          </p:cNvPr>
          <p:cNvCxnSpPr>
            <a:cxnSpLocks/>
          </p:cNvCxnSpPr>
          <p:nvPr userDrawn="1"/>
        </p:nvCxnSpPr>
        <p:spPr>
          <a:xfrm>
            <a:off x="609600" y="6400800"/>
            <a:ext cx="685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42B1350-2DD7-85F3-897A-E489DCF9B73F}"/>
              </a:ext>
            </a:extLst>
          </p:cNvPr>
          <p:cNvSpPr txBox="1">
            <a:spLocks/>
          </p:cNvSpPr>
          <p:nvPr userDrawn="1"/>
        </p:nvSpPr>
        <p:spPr>
          <a:xfrm>
            <a:off x="6781800" y="6477000"/>
            <a:ext cx="685800" cy="273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9A2CCCF-2A3B-40CD-A8D8-9BDE2533416A}" type="slidenum">
              <a:rPr lang="en-US" sz="1200" smtClean="0"/>
              <a:pPr algn="r"/>
              <a:t>‹#›</a:t>
            </a:fld>
            <a:endParaRPr lang="en-US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3FEC6A-1560-E163-7409-DF4E1FB96FF9}"/>
              </a:ext>
            </a:extLst>
          </p:cNvPr>
          <p:cNvSpPr/>
          <p:nvPr userDrawn="1"/>
        </p:nvSpPr>
        <p:spPr>
          <a:xfrm>
            <a:off x="7924800" y="0"/>
            <a:ext cx="4267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742723-4591-5584-3A52-4FB40118F35A}"/>
              </a:ext>
            </a:extLst>
          </p:cNvPr>
          <p:cNvGrpSpPr/>
          <p:nvPr userDrawn="1"/>
        </p:nvGrpSpPr>
        <p:grpSpPr>
          <a:xfrm>
            <a:off x="700087" y="6491287"/>
            <a:ext cx="1788747" cy="276226"/>
            <a:chOff x="700087" y="6491287"/>
            <a:chExt cx="1788747" cy="27622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ABED710-049E-13BD-86E3-3C8A5C7D1F3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65732" t="11021" r="9492" b="49461"/>
            <a:stretch/>
          </p:blipFill>
          <p:spPr>
            <a:xfrm>
              <a:off x="700087" y="6491287"/>
              <a:ext cx="276226" cy="27622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420F89-1D38-0492-2A60-83444AE898BD}"/>
                </a:ext>
              </a:extLst>
            </p:cNvPr>
            <p:cNvSpPr txBox="1"/>
            <p:nvPr userDrawn="1"/>
          </p:nvSpPr>
          <p:spPr>
            <a:xfrm>
              <a:off x="1083611" y="6544643"/>
              <a:ext cx="1405223" cy="153734"/>
            </a:xfrm>
            <a:custGeom>
              <a:avLst/>
              <a:gdLst/>
              <a:ahLst/>
              <a:cxnLst/>
              <a:rect l="l" t="t" r="r" b="b"/>
              <a:pathLst>
                <a:path w="1405223" h="153734">
                  <a:moveTo>
                    <a:pt x="1133856" y="54864"/>
                  </a:moveTo>
                  <a:cubicBezTo>
                    <a:pt x="1128998" y="54864"/>
                    <a:pt x="1124569" y="56603"/>
                    <a:pt x="1120568" y="60079"/>
                  </a:cubicBezTo>
                  <a:cubicBezTo>
                    <a:pt x="1116568" y="63556"/>
                    <a:pt x="1114044" y="68342"/>
                    <a:pt x="1112996" y="74438"/>
                  </a:cubicBezTo>
                  <a:cubicBezTo>
                    <a:pt x="1112710" y="76153"/>
                    <a:pt x="1112567" y="77724"/>
                    <a:pt x="1112567" y="79153"/>
                  </a:cubicBezTo>
                  <a:cubicBezTo>
                    <a:pt x="1112567" y="83820"/>
                    <a:pt x="1113925" y="87511"/>
                    <a:pt x="1116639" y="90226"/>
                  </a:cubicBezTo>
                  <a:cubicBezTo>
                    <a:pt x="1119354" y="92941"/>
                    <a:pt x="1122759" y="94298"/>
                    <a:pt x="1126855" y="94298"/>
                  </a:cubicBezTo>
                  <a:cubicBezTo>
                    <a:pt x="1131713" y="94298"/>
                    <a:pt x="1136142" y="92536"/>
                    <a:pt x="1140142" y="89011"/>
                  </a:cubicBezTo>
                  <a:cubicBezTo>
                    <a:pt x="1144143" y="85487"/>
                    <a:pt x="1146715" y="80677"/>
                    <a:pt x="1147858" y="74581"/>
                  </a:cubicBezTo>
                  <a:cubicBezTo>
                    <a:pt x="1148143" y="72867"/>
                    <a:pt x="1148286" y="71295"/>
                    <a:pt x="1148286" y="69866"/>
                  </a:cubicBezTo>
                  <a:cubicBezTo>
                    <a:pt x="1148286" y="65199"/>
                    <a:pt x="1146929" y="61532"/>
                    <a:pt x="1144214" y="58865"/>
                  </a:cubicBezTo>
                  <a:cubicBezTo>
                    <a:pt x="1141500" y="56198"/>
                    <a:pt x="1138047" y="54864"/>
                    <a:pt x="1133856" y="54864"/>
                  </a:cubicBezTo>
                  <a:close/>
                  <a:moveTo>
                    <a:pt x="724281" y="54864"/>
                  </a:moveTo>
                  <a:cubicBezTo>
                    <a:pt x="719423" y="54864"/>
                    <a:pt x="714994" y="56603"/>
                    <a:pt x="710993" y="60079"/>
                  </a:cubicBezTo>
                  <a:cubicBezTo>
                    <a:pt x="706993" y="63556"/>
                    <a:pt x="704469" y="68342"/>
                    <a:pt x="703421" y="74438"/>
                  </a:cubicBezTo>
                  <a:cubicBezTo>
                    <a:pt x="703135" y="76153"/>
                    <a:pt x="702992" y="77724"/>
                    <a:pt x="702992" y="79153"/>
                  </a:cubicBezTo>
                  <a:cubicBezTo>
                    <a:pt x="702992" y="83820"/>
                    <a:pt x="704350" y="87511"/>
                    <a:pt x="707064" y="90226"/>
                  </a:cubicBezTo>
                  <a:cubicBezTo>
                    <a:pt x="709779" y="92941"/>
                    <a:pt x="713184" y="94298"/>
                    <a:pt x="717280" y="94298"/>
                  </a:cubicBezTo>
                  <a:cubicBezTo>
                    <a:pt x="722138" y="94298"/>
                    <a:pt x="726567" y="92536"/>
                    <a:pt x="730567" y="89011"/>
                  </a:cubicBezTo>
                  <a:cubicBezTo>
                    <a:pt x="734568" y="85487"/>
                    <a:pt x="737139" y="80677"/>
                    <a:pt x="738282" y="74581"/>
                  </a:cubicBezTo>
                  <a:cubicBezTo>
                    <a:pt x="738568" y="72867"/>
                    <a:pt x="738711" y="71295"/>
                    <a:pt x="738711" y="69866"/>
                  </a:cubicBezTo>
                  <a:cubicBezTo>
                    <a:pt x="738711" y="65199"/>
                    <a:pt x="737354" y="61532"/>
                    <a:pt x="734639" y="58865"/>
                  </a:cubicBezTo>
                  <a:cubicBezTo>
                    <a:pt x="731925" y="56198"/>
                    <a:pt x="728472" y="54864"/>
                    <a:pt x="724281" y="54864"/>
                  </a:cubicBezTo>
                  <a:close/>
                  <a:moveTo>
                    <a:pt x="633460" y="54864"/>
                  </a:moveTo>
                  <a:cubicBezTo>
                    <a:pt x="628602" y="54864"/>
                    <a:pt x="624173" y="56626"/>
                    <a:pt x="620172" y="60151"/>
                  </a:cubicBezTo>
                  <a:cubicBezTo>
                    <a:pt x="616172" y="63675"/>
                    <a:pt x="613600" y="68485"/>
                    <a:pt x="612457" y="74581"/>
                  </a:cubicBezTo>
                  <a:cubicBezTo>
                    <a:pt x="612172" y="76296"/>
                    <a:pt x="612029" y="77867"/>
                    <a:pt x="612029" y="79296"/>
                  </a:cubicBezTo>
                  <a:cubicBezTo>
                    <a:pt x="612029" y="83963"/>
                    <a:pt x="613362" y="87630"/>
                    <a:pt x="616029" y="90297"/>
                  </a:cubicBezTo>
                  <a:cubicBezTo>
                    <a:pt x="618696" y="92964"/>
                    <a:pt x="622125" y="94298"/>
                    <a:pt x="626316" y="94298"/>
                  </a:cubicBezTo>
                  <a:cubicBezTo>
                    <a:pt x="631174" y="94298"/>
                    <a:pt x="635627" y="92512"/>
                    <a:pt x="639675" y="88940"/>
                  </a:cubicBezTo>
                  <a:cubicBezTo>
                    <a:pt x="643723" y="85368"/>
                    <a:pt x="646319" y="80534"/>
                    <a:pt x="647462" y="74438"/>
                  </a:cubicBezTo>
                  <a:cubicBezTo>
                    <a:pt x="647747" y="72819"/>
                    <a:pt x="647890" y="71343"/>
                    <a:pt x="647890" y="70009"/>
                  </a:cubicBezTo>
                  <a:cubicBezTo>
                    <a:pt x="647890" y="65247"/>
                    <a:pt x="646533" y="61532"/>
                    <a:pt x="643818" y="58865"/>
                  </a:cubicBezTo>
                  <a:cubicBezTo>
                    <a:pt x="641104" y="56198"/>
                    <a:pt x="637651" y="54864"/>
                    <a:pt x="633460" y="54864"/>
                  </a:cubicBezTo>
                  <a:close/>
                  <a:moveTo>
                    <a:pt x="532924" y="54579"/>
                  </a:moveTo>
                  <a:cubicBezTo>
                    <a:pt x="528828" y="54579"/>
                    <a:pt x="525232" y="55793"/>
                    <a:pt x="522136" y="58222"/>
                  </a:cubicBezTo>
                  <a:cubicBezTo>
                    <a:pt x="519041" y="60651"/>
                    <a:pt x="516636" y="63818"/>
                    <a:pt x="514921" y="67723"/>
                  </a:cubicBezTo>
                  <a:cubicBezTo>
                    <a:pt x="513207" y="71628"/>
                    <a:pt x="512349" y="75724"/>
                    <a:pt x="512349" y="80010"/>
                  </a:cubicBezTo>
                  <a:cubicBezTo>
                    <a:pt x="512349" y="84678"/>
                    <a:pt x="513588" y="88273"/>
                    <a:pt x="516064" y="90797"/>
                  </a:cubicBezTo>
                  <a:cubicBezTo>
                    <a:pt x="518541" y="93322"/>
                    <a:pt x="521732" y="94584"/>
                    <a:pt x="525637" y="94584"/>
                  </a:cubicBezTo>
                  <a:cubicBezTo>
                    <a:pt x="529637" y="94584"/>
                    <a:pt x="533233" y="93369"/>
                    <a:pt x="536424" y="90940"/>
                  </a:cubicBezTo>
                  <a:cubicBezTo>
                    <a:pt x="539615" y="88511"/>
                    <a:pt x="542091" y="85368"/>
                    <a:pt x="543853" y="81511"/>
                  </a:cubicBezTo>
                  <a:cubicBezTo>
                    <a:pt x="545616" y="77653"/>
                    <a:pt x="546497" y="73629"/>
                    <a:pt x="546497" y="69438"/>
                  </a:cubicBezTo>
                  <a:cubicBezTo>
                    <a:pt x="546497" y="64675"/>
                    <a:pt x="545211" y="61008"/>
                    <a:pt x="542639" y="58436"/>
                  </a:cubicBezTo>
                  <a:cubicBezTo>
                    <a:pt x="540067" y="55864"/>
                    <a:pt x="536829" y="54579"/>
                    <a:pt x="532924" y="54579"/>
                  </a:cubicBezTo>
                  <a:close/>
                  <a:moveTo>
                    <a:pt x="256889" y="41005"/>
                  </a:moveTo>
                  <a:lnTo>
                    <a:pt x="237744" y="78153"/>
                  </a:lnTo>
                  <a:lnTo>
                    <a:pt x="262747" y="78153"/>
                  </a:lnTo>
                  <a:close/>
                  <a:moveTo>
                    <a:pt x="1061752" y="34719"/>
                  </a:moveTo>
                  <a:lnTo>
                    <a:pt x="1086183" y="34719"/>
                  </a:lnTo>
                  <a:lnTo>
                    <a:pt x="1072181" y="114443"/>
                  </a:lnTo>
                  <a:lnTo>
                    <a:pt x="1047750" y="114443"/>
                  </a:lnTo>
                  <a:close/>
                  <a:moveTo>
                    <a:pt x="939022" y="33862"/>
                  </a:moveTo>
                  <a:cubicBezTo>
                    <a:pt x="947023" y="33862"/>
                    <a:pt x="953309" y="36100"/>
                    <a:pt x="957881" y="40577"/>
                  </a:cubicBezTo>
                  <a:cubicBezTo>
                    <a:pt x="962453" y="45054"/>
                    <a:pt x="964739" y="51292"/>
                    <a:pt x="964739" y="59293"/>
                  </a:cubicBezTo>
                  <a:cubicBezTo>
                    <a:pt x="964739" y="61960"/>
                    <a:pt x="964454" y="64818"/>
                    <a:pt x="963882" y="67866"/>
                  </a:cubicBezTo>
                  <a:lnTo>
                    <a:pt x="955595" y="114443"/>
                  </a:lnTo>
                  <a:lnTo>
                    <a:pt x="931307" y="114443"/>
                  </a:lnTo>
                  <a:lnTo>
                    <a:pt x="939022" y="71152"/>
                  </a:lnTo>
                  <a:cubicBezTo>
                    <a:pt x="939308" y="69533"/>
                    <a:pt x="939451" y="68104"/>
                    <a:pt x="939451" y="66866"/>
                  </a:cubicBezTo>
                  <a:cubicBezTo>
                    <a:pt x="939451" y="62865"/>
                    <a:pt x="938331" y="59770"/>
                    <a:pt x="936093" y="57579"/>
                  </a:cubicBezTo>
                  <a:cubicBezTo>
                    <a:pt x="933854" y="55388"/>
                    <a:pt x="930735" y="54293"/>
                    <a:pt x="926735" y="54293"/>
                  </a:cubicBezTo>
                  <a:cubicBezTo>
                    <a:pt x="921972" y="54293"/>
                    <a:pt x="917972" y="55769"/>
                    <a:pt x="914733" y="58722"/>
                  </a:cubicBezTo>
                  <a:cubicBezTo>
                    <a:pt x="911495" y="61675"/>
                    <a:pt x="909399" y="65818"/>
                    <a:pt x="908447" y="71152"/>
                  </a:cubicBezTo>
                  <a:lnTo>
                    <a:pt x="908447" y="70438"/>
                  </a:lnTo>
                  <a:lnTo>
                    <a:pt x="900731" y="114443"/>
                  </a:lnTo>
                  <a:lnTo>
                    <a:pt x="876300" y="114443"/>
                  </a:lnTo>
                  <a:lnTo>
                    <a:pt x="890301" y="34719"/>
                  </a:lnTo>
                  <a:lnTo>
                    <a:pt x="914733" y="34719"/>
                  </a:lnTo>
                  <a:lnTo>
                    <a:pt x="912876" y="45435"/>
                  </a:lnTo>
                  <a:cubicBezTo>
                    <a:pt x="916019" y="41910"/>
                    <a:pt x="919853" y="39101"/>
                    <a:pt x="924377" y="37005"/>
                  </a:cubicBezTo>
                  <a:cubicBezTo>
                    <a:pt x="928902" y="34909"/>
                    <a:pt x="933783" y="33862"/>
                    <a:pt x="939022" y="33862"/>
                  </a:cubicBezTo>
                  <a:close/>
                  <a:moveTo>
                    <a:pt x="1372790" y="33576"/>
                  </a:moveTo>
                  <a:cubicBezTo>
                    <a:pt x="1379363" y="33576"/>
                    <a:pt x="1385078" y="34648"/>
                    <a:pt x="1389935" y="36791"/>
                  </a:cubicBezTo>
                  <a:cubicBezTo>
                    <a:pt x="1394793" y="38934"/>
                    <a:pt x="1398556" y="41910"/>
                    <a:pt x="1401223" y="45720"/>
                  </a:cubicBezTo>
                  <a:cubicBezTo>
                    <a:pt x="1403890" y="49530"/>
                    <a:pt x="1405223" y="53817"/>
                    <a:pt x="1405223" y="58579"/>
                  </a:cubicBezTo>
                  <a:lnTo>
                    <a:pt x="1405080" y="60722"/>
                  </a:lnTo>
                  <a:lnTo>
                    <a:pt x="1382935" y="60722"/>
                  </a:lnTo>
                  <a:cubicBezTo>
                    <a:pt x="1383125" y="57865"/>
                    <a:pt x="1382268" y="55579"/>
                    <a:pt x="1380363" y="53864"/>
                  </a:cubicBezTo>
                  <a:cubicBezTo>
                    <a:pt x="1378458" y="52150"/>
                    <a:pt x="1375743" y="51292"/>
                    <a:pt x="1372219" y="51292"/>
                  </a:cubicBezTo>
                  <a:cubicBezTo>
                    <a:pt x="1369457" y="51292"/>
                    <a:pt x="1367195" y="51864"/>
                    <a:pt x="1365432" y="53007"/>
                  </a:cubicBezTo>
                  <a:cubicBezTo>
                    <a:pt x="1363670" y="54150"/>
                    <a:pt x="1362789" y="55722"/>
                    <a:pt x="1362789" y="57722"/>
                  </a:cubicBezTo>
                  <a:cubicBezTo>
                    <a:pt x="1362789" y="59817"/>
                    <a:pt x="1363956" y="61556"/>
                    <a:pt x="1366290" y="62937"/>
                  </a:cubicBezTo>
                  <a:cubicBezTo>
                    <a:pt x="1368623" y="64318"/>
                    <a:pt x="1372267" y="65866"/>
                    <a:pt x="1377220" y="67580"/>
                  </a:cubicBezTo>
                  <a:cubicBezTo>
                    <a:pt x="1382363" y="69295"/>
                    <a:pt x="1386625" y="70985"/>
                    <a:pt x="1390007" y="72652"/>
                  </a:cubicBezTo>
                  <a:cubicBezTo>
                    <a:pt x="1393388" y="74319"/>
                    <a:pt x="1396293" y="76653"/>
                    <a:pt x="1398722" y="79653"/>
                  </a:cubicBezTo>
                  <a:cubicBezTo>
                    <a:pt x="1401151" y="82654"/>
                    <a:pt x="1402366" y="86392"/>
                    <a:pt x="1402366" y="90869"/>
                  </a:cubicBezTo>
                  <a:cubicBezTo>
                    <a:pt x="1402366" y="96012"/>
                    <a:pt x="1400818" y="100441"/>
                    <a:pt x="1397722" y="104156"/>
                  </a:cubicBezTo>
                  <a:cubicBezTo>
                    <a:pt x="1394626" y="107871"/>
                    <a:pt x="1390388" y="110705"/>
                    <a:pt x="1385006" y="112657"/>
                  </a:cubicBezTo>
                  <a:cubicBezTo>
                    <a:pt x="1379625" y="114610"/>
                    <a:pt x="1373505" y="115586"/>
                    <a:pt x="1366647" y="115586"/>
                  </a:cubicBezTo>
                  <a:cubicBezTo>
                    <a:pt x="1360360" y="115586"/>
                    <a:pt x="1354717" y="114586"/>
                    <a:pt x="1349716" y="112586"/>
                  </a:cubicBezTo>
                  <a:cubicBezTo>
                    <a:pt x="1344716" y="110586"/>
                    <a:pt x="1340786" y="107800"/>
                    <a:pt x="1337929" y="104228"/>
                  </a:cubicBezTo>
                  <a:cubicBezTo>
                    <a:pt x="1335072" y="100656"/>
                    <a:pt x="1333643" y="96536"/>
                    <a:pt x="1333643" y="91869"/>
                  </a:cubicBezTo>
                  <a:cubicBezTo>
                    <a:pt x="1333643" y="91202"/>
                    <a:pt x="1333738" y="90012"/>
                    <a:pt x="1333928" y="88297"/>
                  </a:cubicBezTo>
                  <a:lnTo>
                    <a:pt x="1357503" y="88297"/>
                  </a:lnTo>
                  <a:cubicBezTo>
                    <a:pt x="1357312" y="91250"/>
                    <a:pt x="1358193" y="93607"/>
                    <a:pt x="1360146" y="95369"/>
                  </a:cubicBezTo>
                  <a:cubicBezTo>
                    <a:pt x="1362099" y="97132"/>
                    <a:pt x="1364885" y="98013"/>
                    <a:pt x="1368504" y="98013"/>
                  </a:cubicBezTo>
                  <a:cubicBezTo>
                    <a:pt x="1371552" y="98013"/>
                    <a:pt x="1374076" y="97441"/>
                    <a:pt x="1376077" y="96298"/>
                  </a:cubicBezTo>
                  <a:cubicBezTo>
                    <a:pt x="1378077" y="95155"/>
                    <a:pt x="1379077" y="93536"/>
                    <a:pt x="1379077" y="91440"/>
                  </a:cubicBezTo>
                  <a:cubicBezTo>
                    <a:pt x="1379077" y="89440"/>
                    <a:pt x="1378005" y="87845"/>
                    <a:pt x="1375862" y="86654"/>
                  </a:cubicBezTo>
                  <a:cubicBezTo>
                    <a:pt x="1373719" y="85463"/>
                    <a:pt x="1370171" y="84011"/>
                    <a:pt x="1365218" y="82296"/>
                  </a:cubicBezTo>
                  <a:cubicBezTo>
                    <a:pt x="1360075" y="80582"/>
                    <a:pt x="1355764" y="78891"/>
                    <a:pt x="1352288" y="77224"/>
                  </a:cubicBezTo>
                  <a:cubicBezTo>
                    <a:pt x="1348811" y="75557"/>
                    <a:pt x="1345835" y="73152"/>
                    <a:pt x="1343358" y="70009"/>
                  </a:cubicBezTo>
                  <a:cubicBezTo>
                    <a:pt x="1340882" y="66866"/>
                    <a:pt x="1339643" y="62913"/>
                    <a:pt x="1339643" y="58150"/>
                  </a:cubicBezTo>
                  <a:cubicBezTo>
                    <a:pt x="1339643" y="53483"/>
                    <a:pt x="1341025" y="49268"/>
                    <a:pt x="1343787" y="45506"/>
                  </a:cubicBezTo>
                  <a:cubicBezTo>
                    <a:pt x="1346549" y="41744"/>
                    <a:pt x="1350431" y="38815"/>
                    <a:pt x="1355431" y="36719"/>
                  </a:cubicBezTo>
                  <a:cubicBezTo>
                    <a:pt x="1360432" y="34624"/>
                    <a:pt x="1366218" y="33576"/>
                    <a:pt x="1372790" y="33576"/>
                  </a:cubicBezTo>
                  <a:close/>
                  <a:moveTo>
                    <a:pt x="1130427" y="33576"/>
                  </a:moveTo>
                  <a:cubicBezTo>
                    <a:pt x="1136047" y="33576"/>
                    <a:pt x="1140809" y="34719"/>
                    <a:pt x="1144714" y="37005"/>
                  </a:cubicBezTo>
                  <a:cubicBezTo>
                    <a:pt x="1148620" y="39291"/>
                    <a:pt x="1151334" y="42291"/>
                    <a:pt x="1152858" y="46006"/>
                  </a:cubicBezTo>
                  <a:lnTo>
                    <a:pt x="1154859" y="34719"/>
                  </a:lnTo>
                  <a:lnTo>
                    <a:pt x="1179290" y="34719"/>
                  </a:lnTo>
                  <a:lnTo>
                    <a:pt x="1165288" y="114300"/>
                  </a:lnTo>
                  <a:cubicBezTo>
                    <a:pt x="1163955" y="121635"/>
                    <a:pt x="1161312" y="128278"/>
                    <a:pt x="1157359" y="134231"/>
                  </a:cubicBezTo>
                  <a:cubicBezTo>
                    <a:pt x="1153406" y="140185"/>
                    <a:pt x="1148120" y="144923"/>
                    <a:pt x="1141500" y="148447"/>
                  </a:cubicBezTo>
                  <a:cubicBezTo>
                    <a:pt x="1134880" y="151972"/>
                    <a:pt x="1127188" y="153734"/>
                    <a:pt x="1118425" y="153734"/>
                  </a:cubicBezTo>
                  <a:cubicBezTo>
                    <a:pt x="1106614" y="153734"/>
                    <a:pt x="1097518" y="150948"/>
                    <a:pt x="1091136" y="145376"/>
                  </a:cubicBezTo>
                  <a:cubicBezTo>
                    <a:pt x="1084754" y="139804"/>
                    <a:pt x="1081897" y="132255"/>
                    <a:pt x="1082564" y="122730"/>
                  </a:cubicBezTo>
                  <a:lnTo>
                    <a:pt x="1106710" y="122730"/>
                  </a:lnTo>
                  <a:cubicBezTo>
                    <a:pt x="1106995" y="125778"/>
                    <a:pt x="1108400" y="128183"/>
                    <a:pt x="1110924" y="129945"/>
                  </a:cubicBezTo>
                  <a:cubicBezTo>
                    <a:pt x="1113448" y="131707"/>
                    <a:pt x="1116806" y="132588"/>
                    <a:pt x="1120997" y="132588"/>
                  </a:cubicBezTo>
                  <a:cubicBezTo>
                    <a:pt x="1126045" y="132588"/>
                    <a:pt x="1130332" y="131136"/>
                    <a:pt x="1133856" y="128231"/>
                  </a:cubicBezTo>
                  <a:cubicBezTo>
                    <a:pt x="1137380" y="125326"/>
                    <a:pt x="1139714" y="120682"/>
                    <a:pt x="1140857" y="114300"/>
                  </a:cubicBezTo>
                  <a:lnTo>
                    <a:pt x="1142857" y="103013"/>
                  </a:lnTo>
                  <a:cubicBezTo>
                    <a:pt x="1139809" y="106728"/>
                    <a:pt x="1135975" y="109752"/>
                    <a:pt x="1131355" y="112086"/>
                  </a:cubicBezTo>
                  <a:cubicBezTo>
                    <a:pt x="1126736" y="114419"/>
                    <a:pt x="1121616" y="115586"/>
                    <a:pt x="1115996" y="115586"/>
                  </a:cubicBezTo>
                  <a:cubicBezTo>
                    <a:pt x="1110377" y="115586"/>
                    <a:pt x="1105400" y="114300"/>
                    <a:pt x="1101066" y="111729"/>
                  </a:cubicBezTo>
                  <a:cubicBezTo>
                    <a:pt x="1096732" y="109157"/>
                    <a:pt x="1093351" y="105490"/>
                    <a:pt x="1090922" y="100727"/>
                  </a:cubicBezTo>
                  <a:cubicBezTo>
                    <a:pt x="1088493" y="95965"/>
                    <a:pt x="1087279" y="90393"/>
                    <a:pt x="1087279" y="84011"/>
                  </a:cubicBezTo>
                  <a:cubicBezTo>
                    <a:pt x="1087279" y="81058"/>
                    <a:pt x="1087564" y="77867"/>
                    <a:pt x="1088136" y="74438"/>
                  </a:cubicBezTo>
                  <a:cubicBezTo>
                    <a:pt x="1089565" y="66247"/>
                    <a:pt x="1092374" y="59055"/>
                    <a:pt x="1096565" y="52864"/>
                  </a:cubicBezTo>
                  <a:cubicBezTo>
                    <a:pt x="1100756" y="46673"/>
                    <a:pt x="1105805" y="41910"/>
                    <a:pt x="1111710" y="38577"/>
                  </a:cubicBezTo>
                  <a:cubicBezTo>
                    <a:pt x="1117616" y="35243"/>
                    <a:pt x="1123855" y="33576"/>
                    <a:pt x="1130427" y="33576"/>
                  </a:cubicBezTo>
                  <a:close/>
                  <a:moveTo>
                    <a:pt x="1010840" y="33576"/>
                  </a:moveTo>
                  <a:cubicBezTo>
                    <a:pt x="1017413" y="33576"/>
                    <a:pt x="1023128" y="34648"/>
                    <a:pt x="1027985" y="36791"/>
                  </a:cubicBezTo>
                  <a:cubicBezTo>
                    <a:pt x="1032843" y="38934"/>
                    <a:pt x="1036606" y="41910"/>
                    <a:pt x="1039273" y="45720"/>
                  </a:cubicBezTo>
                  <a:cubicBezTo>
                    <a:pt x="1041940" y="49530"/>
                    <a:pt x="1043273" y="53817"/>
                    <a:pt x="1043273" y="58579"/>
                  </a:cubicBezTo>
                  <a:lnTo>
                    <a:pt x="1043130" y="60722"/>
                  </a:lnTo>
                  <a:lnTo>
                    <a:pt x="1020985" y="60722"/>
                  </a:lnTo>
                  <a:cubicBezTo>
                    <a:pt x="1021175" y="57865"/>
                    <a:pt x="1020318" y="55579"/>
                    <a:pt x="1018413" y="53864"/>
                  </a:cubicBezTo>
                  <a:cubicBezTo>
                    <a:pt x="1016508" y="52150"/>
                    <a:pt x="1013793" y="51292"/>
                    <a:pt x="1010269" y="51292"/>
                  </a:cubicBezTo>
                  <a:cubicBezTo>
                    <a:pt x="1007506" y="51292"/>
                    <a:pt x="1005244" y="51864"/>
                    <a:pt x="1003482" y="53007"/>
                  </a:cubicBezTo>
                  <a:cubicBezTo>
                    <a:pt x="1001720" y="54150"/>
                    <a:pt x="1000839" y="55722"/>
                    <a:pt x="1000839" y="57722"/>
                  </a:cubicBezTo>
                  <a:cubicBezTo>
                    <a:pt x="1000839" y="59817"/>
                    <a:pt x="1002006" y="61556"/>
                    <a:pt x="1004339" y="62937"/>
                  </a:cubicBezTo>
                  <a:cubicBezTo>
                    <a:pt x="1006673" y="64318"/>
                    <a:pt x="1010316" y="65866"/>
                    <a:pt x="1015270" y="67580"/>
                  </a:cubicBezTo>
                  <a:cubicBezTo>
                    <a:pt x="1020413" y="69295"/>
                    <a:pt x="1024675" y="70985"/>
                    <a:pt x="1028057" y="72652"/>
                  </a:cubicBezTo>
                  <a:cubicBezTo>
                    <a:pt x="1031438" y="74319"/>
                    <a:pt x="1034343" y="76653"/>
                    <a:pt x="1036772" y="79653"/>
                  </a:cubicBezTo>
                  <a:cubicBezTo>
                    <a:pt x="1039201" y="82654"/>
                    <a:pt x="1040416" y="86392"/>
                    <a:pt x="1040416" y="90869"/>
                  </a:cubicBezTo>
                  <a:cubicBezTo>
                    <a:pt x="1040416" y="96012"/>
                    <a:pt x="1038868" y="100441"/>
                    <a:pt x="1035772" y="104156"/>
                  </a:cubicBezTo>
                  <a:cubicBezTo>
                    <a:pt x="1032677" y="107871"/>
                    <a:pt x="1028438" y="110705"/>
                    <a:pt x="1023056" y="112657"/>
                  </a:cubicBezTo>
                  <a:cubicBezTo>
                    <a:pt x="1017675" y="114610"/>
                    <a:pt x="1011555" y="115586"/>
                    <a:pt x="1004697" y="115586"/>
                  </a:cubicBezTo>
                  <a:cubicBezTo>
                    <a:pt x="998410" y="115586"/>
                    <a:pt x="992767" y="114586"/>
                    <a:pt x="987766" y="112586"/>
                  </a:cubicBezTo>
                  <a:cubicBezTo>
                    <a:pt x="982765" y="110586"/>
                    <a:pt x="978836" y="107800"/>
                    <a:pt x="975979" y="104228"/>
                  </a:cubicBezTo>
                  <a:cubicBezTo>
                    <a:pt x="973121" y="100656"/>
                    <a:pt x="971693" y="96536"/>
                    <a:pt x="971693" y="91869"/>
                  </a:cubicBezTo>
                  <a:cubicBezTo>
                    <a:pt x="971693" y="91202"/>
                    <a:pt x="971788" y="90012"/>
                    <a:pt x="971978" y="88297"/>
                  </a:cubicBezTo>
                  <a:lnTo>
                    <a:pt x="995553" y="88297"/>
                  </a:lnTo>
                  <a:cubicBezTo>
                    <a:pt x="995362" y="91250"/>
                    <a:pt x="996243" y="93607"/>
                    <a:pt x="998196" y="95369"/>
                  </a:cubicBezTo>
                  <a:cubicBezTo>
                    <a:pt x="1000148" y="97132"/>
                    <a:pt x="1002935" y="98013"/>
                    <a:pt x="1006554" y="98013"/>
                  </a:cubicBezTo>
                  <a:cubicBezTo>
                    <a:pt x="1009602" y="98013"/>
                    <a:pt x="1012126" y="97441"/>
                    <a:pt x="1014127" y="96298"/>
                  </a:cubicBezTo>
                  <a:cubicBezTo>
                    <a:pt x="1016127" y="95155"/>
                    <a:pt x="1017127" y="93536"/>
                    <a:pt x="1017127" y="91440"/>
                  </a:cubicBezTo>
                  <a:cubicBezTo>
                    <a:pt x="1017127" y="89440"/>
                    <a:pt x="1016055" y="87845"/>
                    <a:pt x="1013912" y="86654"/>
                  </a:cubicBezTo>
                  <a:cubicBezTo>
                    <a:pt x="1011769" y="85463"/>
                    <a:pt x="1008221" y="84011"/>
                    <a:pt x="1003268" y="82296"/>
                  </a:cubicBezTo>
                  <a:cubicBezTo>
                    <a:pt x="998124" y="80582"/>
                    <a:pt x="993814" y="78891"/>
                    <a:pt x="990338" y="77224"/>
                  </a:cubicBezTo>
                  <a:cubicBezTo>
                    <a:pt x="986861" y="75557"/>
                    <a:pt x="983885" y="73152"/>
                    <a:pt x="981408" y="70009"/>
                  </a:cubicBezTo>
                  <a:cubicBezTo>
                    <a:pt x="978931" y="66866"/>
                    <a:pt x="977693" y="62913"/>
                    <a:pt x="977693" y="58150"/>
                  </a:cubicBezTo>
                  <a:cubicBezTo>
                    <a:pt x="977693" y="53483"/>
                    <a:pt x="979074" y="49268"/>
                    <a:pt x="981837" y="45506"/>
                  </a:cubicBezTo>
                  <a:cubicBezTo>
                    <a:pt x="984599" y="41744"/>
                    <a:pt x="988480" y="38815"/>
                    <a:pt x="993481" y="36719"/>
                  </a:cubicBezTo>
                  <a:cubicBezTo>
                    <a:pt x="998482" y="34624"/>
                    <a:pt x="1004268" y="33576"/>
                    <a:pt x="1010840" y="33576"/>
                  </a:cubicBezTo>
                  <a:close/>
                  <a:moveTo>
                    <a:pt x="720852" y="33576"/>
                  </a:moveTo>
                  <a:cubicBezTo>
                    <a:pt x="726472" y="33576"/>
                    <a:pt x="731186" y="34719"/>
                    <a:pt x="734996" y="37005"/>
                  </a:cubicBezTo>
                  <a:cubicBezTo>
                    <a:pt x="738806" y="39291"/>
                    <a:pt x="741569" y="42291"/>
                    <a:pt x="743283" y="46006"/>
                  </a:cubicBezTo>
                  <a:lnTo>
                    <a:pt x="745283" y="34719"/>
                  </a:lnTo>
                  <a:lnTo>
                    <a:pt x="769715" y="34719"/>
                  </a:lnTo>
                  <a:lnTo>
                    <a:pt x="755570" y="114443"/>
                  </a:lnTo>
                  <a:lnTo>
                    <a:pt x="731139" y="114443"/>
                  </a:lnTo>
                  <a:lnTo>
                    <a:pt x="733282" y="103156"/>
                  </a:lnTo>
                  <a:cubicBezTo>
                    <a:pt x="730234" y="106871"/>
                    <a:pt x="726376" y="109871"/>
                    <a:pt x="721709" y="112157"/>
                  </a:cubicBezTo>
                  <a:cubicBezTo>
                    <a:pt x="717042" y="114443"/>
                    <a:pt x="711898" y="115586"/>
                    <a:pt x="706278" y="115586"/>
                  </a:cubicBezTo>
                  <a:cubicBezTo>
                    <a:pt x="700659" y="115586"/>
                    <a:pt x="695682" y="114300"/>
                    <a:pt x="691348" y="111729"/>
                  </a:cubicBezTo>
                  <a:cubicBezTo>
                    <a:pt x="687014" y="109157"/>
                    <a:pt x="683657" y="105514"/>
                    <a:pt x="681275" y="100799"/>
                  </a:cubicBezTo>
                  <a:cubicBezTo>
                    <a:pt x="678894" y="96084"/>
                    <a:pt x="677703" y="90535"/>
                    <a:pt x="677703" y="84154"/>
                  </a:cubicBezTo>
                  <a:cubicBezTo>
                    <a:pt x="677703" y="81106"/>
                    <a:pt x="677989" y="77867"/>
                    <a:pt x="678561" y="74438"/>
                  </a:cubicBezTo>
                  <a:cubicBezTo>
                    <a:pt x="679989" y="66247"/>
                    <a:pt x="682799" y="59055"/>
                    <a:pt x="686990" y="52864"/>
                  </a:cubicBezTo>
                  <a:cubicBezTo>
                    <a:pt x="691181" y="46673"/>
                    <a:pt x="696230" y="41910"/>
                    <a:pt x="702135" y="38577"/>
                  </a:cubicBezTo>
                  <a:cubicBezTo>
                    <a:pt x="708041" y="35243"/>
                    <a:pt x="714280" y="33576"/>
                    <a:pt x="720852" y="33576"/>
                  </a:cubicBezTo>
                  <a:close/>
                  <a:moveTo>
                    <a:pt x="536495" y="33576"/>
                  </a:moveTo>
                  <a:cubicBezTo>
                    <a:pt x="543353" y="33576"/>
                    <a:pt x="549473" y="34981"/>
                    <a:pt x="554855" y="37791"/>
                  </a:cubicBezTo>
                  <a:cubicBezTo>
                    <a:pt x="560236" y="40601"/>
                    <a:pt x="564404" y="44530"/>
                    <a:pt x="567356" y="49578"/>
                  </a:cubicBezTo>
                  <a:cubicBezTo>
                    <a:pt x="570309" y="54626"/>
                    <a:pt x="571785" y="60484"/>
                    <a:pt x="571785" y="67152"/>
                  </a:cubicBezTo>
                  <a:cubicBezTo>
                    <a:pt x="571785" y="76296"/>
                    <a:pt x="569619" y="84559"/>
                    <a:pt x="565285" y="91940"/>
                  </a:cubicBezTo>
                  <a:cubicBezTo>
                    <a:pt x="560951" y="99322"/>
                    <a:pt x="554998" y="105109"/>
                    <a:pt x="547425" y="109300"/>
                  </a:cubicBezTo>
                  <a:cubicBezTo>
                    <a:pt x="539853" y="113491"/>
                    <a:pt x="531447" y="115586"/>
                    <a:pt x="522208" y="115586"/>
                  </a:cubicBezTo>
                  <a:cubicBezTo>
                    <a:pt x="515350" y="115586"/>
                    <a:pt x="509254" y="114205"/>
                    <a:pt x="503920" y="111443"/>
                  </a:cubicBezTo>
                  <a:cubicBezTo>
                    <a:pt x="498586" y="108681"/>
                    <a:pt x="494466" y="104775"/>
                    <a:pt x="491561" y="99727"/>
                  </a:cubicBezTo>
                  <a:cubicBezTo>
                    <a:pt x="488656" y="94679"/>
                    <a:pt x="487203" y="88821"/>
                    <a:pt x="487203" y="82153"/>
                  </a:cubicBezTo>
                  <a:cubicBezTo>
                    <a:pt x="487203" y="73105"/>
                    <a:pt x="489347" y="64866"/>
                    <a:pt x="493633" y="57436"/>
                  </a:cubicBezTo>
                  <a:cubicBezTo>
                    <a:pt x="497919" y="50007"/>
                    <a:pt x="503825" y="44173"/>
                    <a:pt x="511349" y="39934"/>
                  </a:cubicBezTo>
                  <a:cubicBezTo>
                    <a:pt x="518874" y="35695"/>
                    <a:pt x="527256" y="33576"/>
                    <a:pt x="536495" y="33576"/>
                  </a:cubicBezTo>
                  <a:close/>
                  <a:moveTo>
                    <a:pt x="153019" y="33576"/>
                  </a:moveTo>
                  <a:lnTo>
                    <a:pt x="148590" y="59293"/>
                  </a:lnTo>
                  <a:lnTo>
                    <a:pt x="161734" y="59293"/>
                  </a:lnTo>
                  <a:cubicBezTo>
                    <a:pt x="170878" y="59293"/>
                    <a:pt x="176260" y="55007"/>
                    <a:pt x="177879" y="46435"/>
                  </a:cubicBezTo>
                  <a:cubicBezTo>
                    <a:pt x="178070" y="44911"/>
                    <a:pt x="178165" y="43815"/>
                    <a:pt x="178165" y="43149"/>
                  </a:cubicBezTo>
                  <a:cubicBezTo>
                    <a:pt x="178165" y="40101"/>
                    <a:pt x="177189" y="37743"/>
                    <a:pt x="175236" y="36076"/>
                  </a:cubicBezTo>
                  <a:cubicBezTo>
                    <a:pt x="173283" y="34409"/>
                    <a:pt x="170307" y="33576"/>
                    <a:pt x="166306" y="33576"/>
                  </a:cubicBezTo>
                  <a:close/>
                  <a:moveTo>
                    <a:pt x="1297781" y="15288"/>
                  </a:moveTo>
                  <a:lnTo>
                    <a:pt x="1322213" y="15288"/>
                  </a:lnTo>
                  <a:lnTo>
                    <a:pt x="1318784" y="34719"/>
                  </a:lnTo>
                  <a:lnTo>
                    <a:pt x="1334786" y="34719"/>
                  </a:lnTo>
                  <a:lnTo>
                    <a:pt x="1331214" y="55007"/>
                  </a:lnTo>
                  <a:lnTo>
                    <a:pt x="1315212" y="55007"/>
                  </a:lnTo>
                  <a:lnTo>
                    <a:pt x="1309497" y="87011"/>
                  </a:lnTo>
                  <a:cubicBezTo>
                    <a:pt x="1309402" y="87487"/>
                    <a:pt x="1309354" y="88107"/>
                    <a:pt x="1309354" y="88869"/>
                  </a:cubicBezTo>
                  <a:cubicBezTo>
                    <a:pt x="1309354" y="90583"/>
                    <a:pt x="1309854" y="91821"/>
                    <a:pt x="1310854" y="92583"/>
                  </a:cubicBezTo>
                  <a:cubicBezTo>
                    <a:pt x="1311854" y="93345"/>
                    <a:pt x="1313497" y="93726"/>
                    <a:pt x="1315783" y="93726"/>
                  </a:cubicBezTo>
                  <a:lnTo>
                    <a:pt x="1324499" y="93726"/>
                  </a:lnTo>
                  <a:lnTo>
                    <a:pt x="1320784" y="114443"/>
                  </a:lnTo>
                  <a:lnTo>
                    <a:pt x="1308354" y="114443"/>
                  </a:lnTo>
                  <a:cubicBezTo>
                    <a:pt x="1292352" y="114443"/>
                    <a:pt x="1284351" y="107728"/>
                    <a:pt x="1284351" y="94298"/>
                  </a:cubicBezTo>
                  <a:cubicBezTo>
                    <a:pt x="1284351" y="92298"/>
                    <a:pt x="1284589" y="89773"/>
                    <a:pt x="1285065" y="86725"/>
                  </a:cubicBezTo>
                  <a:lnTo>
                    <a:pt x="1290780" y="55007"/>
                  </a:lnTo>
                  <a:lnTo>
                    <a:pt x="1281065" y="55007"/>
                  </a:lnTo>
                  <a:lnTo>
                    <a:pt x="1284637" y="34719"/>
                  </a:lnTo>
                  <a:lnTo>
                    <a:pt x="1294352" y="34719"/>
                  </a:lnTo>
                  <a:close/>
                  <a:moveTo>
                    <a:pt x="855916" y="14145"/>
                  </a:moveTo>
                  <a:lnTo>
                    <a:pt x="880348" y="14145"/>
                  </a:lnTo>
                  <a:lnTo>
                    <a:pt x="862631" y="114443"/>
                  </a:lnTo>
                  <a:lnTo>
                    <a:pt x="838200" y="114443"/>
                  </a:lnTo>
                  <a:close/>
                  <a:moveTo>
                    <a:pt x="247459" y="14145"/>
                  </a:moveTo>
                  <a:lnTo>
                    <a:pt x="275748" y="14145"/>
                  </a:lnTo>
                  <a:lnTo>
                    <a:pt x="294322" y="114443"/>
                  </a:lnTo>
                  <a:lnTo>
                    <a:pt x="268462" y="114443"/>
                  </a:lnTo>
                  <a:lnTo>
                    <a:pt x="265604" y="96727"/>
                  </a:lnTo>
                  <a:lnTo>
                    <a:pt x="228171" y="96727"/>
                  </a:lnTo>
                  <a:lnTo>
                    <a:pt x="219027" y="114443"/>
                  </a:lnTo>
                  <a:lnTo>
                    <a:pt x="193452" y="114443"/>
                  </a:lnTo>
                  <a:close/>
                  <a:moveTo>
                    <a:pt x="132016" y="14145"/>
                  </a:moveTo>
                  <a:lnTo>
                    <a:pt x="171593" y="14145"/>
                  </a:lnTo>
                  <a:cubicBezTo>
                    <a:pt x="182070" y="14145"/>
                    <a:pt x="189976" y="16455"/>
                    <a:pt x="195310" y="21074"/>
                  </a:cubicBezTo>
                  <a:cubicBezTo>
                    <a:pt x="200644" y="25694"/>
                    <a:pt x="203311" y="31957"/>
                    <a:pt x="203311" y="39862"/>
                  </a:cubicBezTo>
                  <a:cubicBezTo>
                    <a:pt x="203311" y="42244"/>
                    <a:pt x="203120" y="44434"/>
                    <a:pt x="202739" y="46435"/>
                  </a:cubicBezTo>
                  <a:cubicBezTo>
                    <a:pt x="201787" y="52245"/>
                    <a:pt x="199548" y="57555"/>
                    <a:pt x="196024" y="62365"/>
                  </a:cubicBezTo>
                  <a:cubicBezTo>
                    <a:pt x="192500" y="67175"/>
                    <a:pt x="187714" y="71057"/>
                    <a:pt x="181665" y="74010"/>
                  </a:cubicBezTo>
                  <a:cubicBezTo>
                    <a:pt x="175617" y="76962"/>
                    <a:pt x="168497" y="78439"/>
                    <a:pt x="160305" y="78439"/>
                  </a:cubicBezTo>
                  <a:lnTo>
                    <a:pt x="145161" y="78439"/>
                  </a:lnTo>
                  <a:lnTo>
                    <a:pt x="138731" y="114443"/>
                  </a:lnTo>
                  <a:lnTo>
                    <a:pt x="114300" y="114443"/>
                  </a:lnTo>
                  <a:close/>
                  <a:moveTo>
                    <a:pt x="55816" y="14145"/>
                  </a:moveTo>
                  <a:lnTo>
                    <a:pt x="121110" y="14145"/>
                  </a:lnTo>
                  <a:lnTo>
                    <a:pt x="117681" y="33433"/>
                  </a:lnTo>
                  <a:lnTo>
                    <a:pt x="76819" y="33433"/>
                  </a:lnTo>
                  <a:lnTo>
                    <a:pt x="73104" y="55007"/>
                  </a:lnTo>
                  <a:lnTo>
                    <a:pt x="103679" y="55007"/>
                  </a:lnTo>
                  <a:lnTo>
                    <a:pt x="100250" y="73581"/>
                  </a:lnTo>
                  <a:lnTo>
                    <a:pt x="69675" y="73581"/>
                  </a:lnTo>
                  <a:lnTo>
                    <a:pt x="62531" y="114443"/>
                  </a:lnTo>
                  <a:lnTo>
                    <a:pt x="38100" y="114443"/>
                  </a:lnTo>
                  <a:close/>
                  <a:moveTo>
                    <a:pt x="17716" y="14145"/>
                  </a:moveTo>
                  <a:lnTo>
                    <a:pt x="42148" y="14145"/>
                  </a:lnTo>
                  <a:lnTo>
                    <a:pt x="24431" y="114443"/>
                  </a:lnTo>
                  <a:lnTo>
                    <a:pt x="0" y="114443"/>
                  </a:lnTo>
                  <a:close/>
                  <a:moveTo>
                    <a:pt x="407622" y="13002"/>
                  </a:moveTo>
                  <a:cubicBezTo>
                    <a:pt x="419624" y="13002"/>
                    <a:pt x="429268" y="15907"/>
                    <a:pt x="436554" y="21717"/>
                  </a:cubicBezTo>
                  <a:cubicBezTo>
                    <a:pt x="443841" y="27528"/>
                    <a:pt x="447818" y="35576"/>
                    <a:pt x="448484" y="45863"/>
                  </a:cubicBezTo>
                  <a:lnTo>
                    <a:pt x="421624" y="45863"/>
                  </a:lnTo>
                  <a:cubicBezTo>
                    <a:pt x="420386" y="42529"/>
                    <a:pt x="418219" y="39982"/>
                    <a:pt x="415123" y="38219"/>
                  </a:cubicBezTo>
                  <a:cubicBezTo>
                    <a:pt x="412027" y="36457"/>
                    <a:pt x="408241" y="35576"/>
                    <a:pt x="403764" y="35576"/>
                  </a:cubicBezTo>
                  <a:cubicBezTo>
                    <a:pt x="395859" y="35576"/>
                    <a:pt x="389072" y="38172"/>
                    <a:pt x="383405" y="43363"/>
                  </a:cubicBezTo>
                  <a:cubicBezTo>
                    <a:pt x="377737" y="48554"/>
                    <a:pt x="374142" y="55483"/>
                    <a:pt x="372618" y="64151"/>
                  </a:cubicBezTo>
                  <a:cubicBezTo>
                    <a:pt x="372141" y="67009"/>
                    <a:pt x="371903" y="69485"/>
                    <a:pt x="371903" y="71581"/>
                  </a:cubicBezTo>
                  <a:cubicBezTo>
                    <a:pt x="371903" y="78629"/>
                    <a:pt x="373951" y="84058"/>
                    <a:pt x="378047" y="87868"/>
                  </a:cubicBezTo>
                  <a:cubicBezTo>
                    <a:pt x="382143" y="91678"/>
                    <a:pt x="387953" y="93583"/>
                    <a:pt x="395478" y="93583"/>
                  </a:cubicBezTo>
                  <a:cubicBezTo>
                    <a:pt x="401574" y="93583"/>
                    <a:pt x="406955" y="92036"/>
                    <a:pt x="411623" y="88940"/>
                  </a:cubicBezTo>
                  <a:cubicBezTo>
                    <a:pt x="416290" y="85844"/>
                    <a:pt x="420052" y="81439"/>
                    <a:pt x="422910" y="75724"/>
                  </a:cubicBezTo>
                  <a:lnTo>
                    <a:pt x="392049" y="75724"/>
                  </a:lnTo>
                  <a:lnTo>
                    <a:pt x="395049" y="57865"/>
                  </a:lnTo>
                  <a:lnTo>
                    <a:pt x="448199" y="57865"/>
                  </a:lnTo>
                  <a:lnTo>
                    <a:pt x="444198" y="80582"/>
                  </a:lnTo>
                  <a:cubicBezTo>
                    <a:pt x="441341" y="86678"/>
                    <a:pt x="437269" y="92345"/>
                    <a:pt x="431982" y="97584"/>
                  </a:cubicBezTo>
                  <a:cubicBezTo>
                    <a:pt x="426696" y="102823"/>
                    <a:pt x="420433" y="107061"/>
                    <a:pt x="413194" y="110300"/>
                  </a:cubicBezTo>
                  <a:cubicBezTo>
                    <a:pt x="405955" y="113538"/>
                    <a:pt x="398145" y="115158"/>
                    <a:pt x="389763" y="115158"/>
                  </a:cubicBezTo>
                  <a:cubicBezTo>
                    <a:pt x="381095" y="115158"/>
                    <a:pt x="373499" y="113467"/>
                    <a:pt x="366974" y="110086"/>
                  </a:cubicBezTo>
                  <a:cubicBezTo>
                    <a:pt x="360450" y="106704"/>
                    <a:pt x="355449" y="101965"/>
                    <a:pt x="351972" y="95870"/>
                  </a:cubicBezTo>
                  <a:cubicBezTo>
                    <a:pt x="348496" y="89773"/>
                    <a:pt x="346757" y="82677"/>
                    <a:pt x="346757" y="74581"/>
                  </a:cubicBezTo>
                  <a:cubicBezTo>
                    <a:pt x="346757" y="71819"/>
                    <a:pt x="347091" y="68342"/>
                    <a:pt x="347757" y="64151"/>
                  </a:cubicBezTo>
                  <a:cubicBezTo>
                    <a:pt x="349472" y="54245"/>
                    <a:pt x="353163" y="45411"/>
                    <a:pt x="358830" y="37648"/>
                  </a:cubicBezTo>
                  <a:cubicBezTo>
                    <a:pt x="364498" y="29885"/>
                    <a:pt x="371570" y="23837"/>
                    <a:pt x="380047" y="19503"/>
                  </a:cubicBezTo>
                  <a:cubicBezTo>
                    <a:pt x="388524" y="15169"/>
                    <a:pt x="397716" y="13002"/>
                    <a:pt x="407622" y="13002"/>
                  </a:cubicBezTo>
                  <a:close/>
                  <a:moveTo>
                    <a:pt x="1199816" y="8716"/>
                  </a:moveTo>
                  <a:lnTo>
                    <a:pt x="1224248" y="8716"/>
                  </a:lnTo>
                  <a:lnTo>
                    <a:pt x="1217819" y="45292"/>
                  </a:lnTo>
                  <a:cubicBezTo>
                    <a:pt x="1220962" y="41768"/>
                    <a:pt x="1224820" y="38981"/>
                    <a:pt x="1229392" y="36934"/>
                  </a:cubicBezTo>
                  <a:cubicBezTo>
                    <a:pt x="1233964" y="34886"/>
                    <a:pt x="1238917" y="33862"/>
                    <a:pt x="1244251" y="33862"/>
                  </a:cubicBezTo>
                  <a:cubicBezTo>
                    <a:pt x="1252061" y="33862"/>
                    <a:pt x="1258229" y="36100"/>
                    <a:pt x="1262753" y="40577"/>
                  </a:cubicBezTo>
                  <a:cubicBezTo>
                    <a:pt x="1267277" y="45054"/>
                    <a:pt x="1269539" y="51292"/>
                    <a:pt x="1269539" y="59293"/>
                  </a:cubicBezTo>
                  <a:cubicBezTo>
                    <a:pt x="1269539" y="61960"/>
                    <a:pt x="1269254" y="64818"/>
                    <a:pt x="1268682" y="67866"/>
                  </a:cubicBezTo>
                  <a:lnTo>
                    <a:pt x="1260395" y="114443"/>
                  </a:lnTo>
                  <a:lnTo>
                    <a:pt x="1236107" y="114443"/>
                  </a:lnTo>
                  <a:lnTo>
                    <a:pt x="1243822" y="71152"/>
                  </a:lnTo>
                  <a:cubicBezTo>
                    <a:pt x="1244108" y="69533"/>
                    <a:pt x="1244251" y="68104"/>
                    <a:pt x="1244251" y="66866"/>
                  </a:cubicBezTo>
                  <a:cubicBezTo>
                    <a:pt x="1244251" y="62865"/>
                    <a:pt x="1243131" y="59770"/>
                    <a:pt x="1240893" y="57579"/>
                  </a:cubicBezTo>
                  <a:cubicBezTo>
                    <a:pt x="1238655" y="55388"/>
                    <a:pt x="1235535" y="54293"/>
                    <a:pt x="1231535" y="54293"/>
                  </a:cubicBezTo>
                  <a:cubicBezTo>
                    <a:pt x="1226772" y="54293"/>
                    <a:pt x="1222772" y="55769"/>
                    <a:pt x="1219533" y="58722"/>
                  </a:cubicBezTo>
                  <a:cubicBezTo>
                    <a:pt x="1216295" y="61675"/>
                    <a:pt x="1214199" y="65818"/>
                    <a:pt x="1213247" y="71152"/>
                  </a:cubicBezTo>
                  <a:lnTo>
                    <a:pt x="1213247" y="70866"/>
                  </a:lnTo>
                  <a:lnTo>
                    <a:pt x="1205531" y="114443"/>
                  </a:lnTo>
                  <a:lnTo>
                    <a:pt x="1181100" y="114443"/>
                  </a:lnTo>
                  <a:close/>
                  <a:moveTo>
                    <a:pt x="790241" y="8716"/>
                  </a:moveTo>
                  <a:lnTo>
                    <a:pt x="814673" y="8716"/>
                  </a:lnTo>
                  <a:lnTo>
                    <a:pt x="795956" y="114443"/>
                  </a:lnTo>
                  <a:lnTo>
                    <a:pt x="771525" y="114443"/>
                  </a:lnTo>
                  <a:close/>
                  <a:moveTo>
                    <a:pt x="599741" y="8716"/>
                  </a:moveTo>
                  <a:lnTo>
                    <a:pt x="624173" y="8716"/>
                  </a:lnTo>
                  <a:lnTo>
                    <a:pt x="617458" y="46006"/>
                  </a:lnTo>
                  <a:cubicBezTo>
                    <a:pt x="620506" y="42291"/>
                    <a:pt x="624363" y="39291"/>
                    <a:pt x="629031" y="37005"/>
                  </a:cubicBezTo>
                  <a:cubicBezTo>
                    <a:pt x="633698" y="34719"/>
                    <a:pt x="638794" y="33576"/>
                    <a:pt x="644318" y="33576"/>
                  </a:cubicBezTo>
                  <a:cubicBezTo>
                    <a:pt x="652891" y="33576"/>
                    <a:pt x="659820" y="36362"/>
                    <a:pt x="665107" y="41934"/>
                  </a:cubicBezTo>
                  <a:cubicBezTo>
                    <a:pt x="670393" y="47506"/>
                    <a:pt x="673036" y="55102"/>
                    <a:pt x="673036" y="64723"/>
                  </a:cubicBezTo>
                  <a:cubicBezTo>
                    <a:pt x="673036" y="67771"/>
                    <a:pt x="672751" y="71009"/>
                    <a:pt x="672179" y="74438"/>
                  </a:cubicBezTo>
                  <a:cubicBezTo>
                    <a:pt x="670750" y="82630"/>
                    <a:pt x="667940" y="89845"/>
                    <a:pt x="663749" y="96084"/>
                  </a:cubicBezTo>
                  <a:cubicBezTo>
                    <a:pt x="659558" y="102323"/>
                    <a:pt x="654510" y="107133"/>
                    <a:pt x="648605" y="110514"/>
                  </a:cubicBezTo>
                  <a:cubicBezTo>
                    <a:pt x="642699" y="113896"/>
                    <a:pt x="636460" y="115586"/>
                    <a:pt x="629888" y="115586"/>
                  </a:cubicBezTo>
                  <a:cubicBezTo>
                    <a:pt x="624268" y="115586"/>
                    <a:pt x="619553" y="114467"/>
                    <a:pt x="615743" y="112229"/>
                  </a:cubicBezTo>
                  <a:cubicBezTo>
                    <a:pt x="611933" y="109990"/>
                    <a:pt x="609171" y="107014"/>
                    <a:pt x="607457" y="103299"/>
                  </a:cubicBezTo>
                  <a:lnTo>
                    <a:pt x="605456" y="114443"/>
                  </a:lnTo>
                  <a:lnTo>
                    <a:pt x="581025" y="114443"/>
                  </a:lnTo>
                  <a:close/>
                  <a:moveTo>
                    <a:pt x="466391" y="8716"/>
                  </a:moveTo>
                  <a:lnTo>
                    <a:pt x="490823" y="8716"/>
                  </a:lnTo>
                  <a:lnTo>
                    <a:pt x="472106" y="114443"/>
                  </a:lnTo>
                  <a:lnTo>
                    <a:pt x="447675" y="114443"/>
                  </a:lnTo>
                  <a:close/>
                  <a:moveTo>
                    <a:pt x="1080325" y="0"/>
                  </a:moveTo>
                  <a:cubicBezTo>
                    <a:pt x="1084135" y="0"/>
                    <a:pt x="1087136" y="1024"/>
                    <a:pt x="1089326" y="3072"/>
                  </a:cubicBezTo>
                  <a:cubicBezTo>
                    <a:pt x="1091517" y="5120"/>
                    <a:pt x="1092613" y="7763"/>
                    <a:pt x="1092613" y="11002"/>
                  </a:cubicBezTo>
                  <a:cubicBezTo>
                    <a:pt x="1092613" y="15193"/>
                    <a:pt x="1090946" y="18812"/>
                    <a:pt x="1087612" y="21860"/>
                  </a:cubicBezTo>
                  <a:cubicBezTo>
                    <a:pt x="1084278" y="24908"/>
                    <a:pt x="1080278" y="26432"/>
                    <a:pt x="1075610" y="26432"/>
                  </a:cubicBezTo>
                  <a:cubicBezTo>
                    <a:pt x="1071800" y="26432"/>
                    <a:pt x="1068776" y="25408"/>
                    <a:pt x="1066538" y="23360"/>
                  </a:cubicBezTo>
                  <a:cubicBezTo>
                    <a:pt x="1064299" y="21313"/>
                    <a:pt x="1063180" y="18717"/>
                    <a:pt x="1063180" y="15574"/>
                  </a:cubicBezTo>
                  <a:cubicBezTo>
                    <a:pt x="1063180" y="11287"/>
                    <a:pt x="1064847" y="7620"/>
                    <a:pt x="1068181" y="4572"/>
                  </a:cubicBezTo>
                  <a:cubicBezTo>
                    <a:pt x="1071515" y="1524"/>
                    <a:pt x="1075563" y="0"/>
                    <a:pt x="1080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100" b="1" i="1">
                <a:solidFill>
                  <a:schemeClr val="tx1"/>
                </a:solidFill>
                <a:latin typeface="Poppins" panose="00000500000000000000" pitchFamily="2" charset="0"/>
                <a:ea typeface="Verdana" panose="020B0604030504040204" pitchFamily="34" charset="0"/>
                <a:cs typeface="Poppins" panose="00000500000000000000" pitchFamily="2" charset="0"/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FD47571-781D-6552-E697-737D4233791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2675" y="6703221"/>
              <a:ext cx="292100" cy="0"/>
            </a:xfrm>
            <a:prstGeom prst="line">
              <a:avLst/>
            </a:prstGeom>
            <a:ln w="1270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C0F7997-BEF5-36DB-14F2-ED50BA4D13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35100" y="6703221"/>
              <a:ext cx="431800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37BD873-E0F8-A2AE-1E2A-1F88FC24D5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917700" y="6703221"/>
              <a:ext cx="218281" cy="0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82187A2-798C-DAD5-488D-9F57A5A202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62188" y="6703221"/>
              <a:ext cx="214312" cy="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4465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7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8069"/>
            <a:ext cx="12192000" cy="46126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71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8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634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0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9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532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49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2527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6" y="2855145"/>
            <a:ext cx="6051433" cy="206610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1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5" y="349251"/>
            <a:ext cx="7284940" cy="22232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799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– CAP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17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7836" y="1538026"/>
            <a:ext cx="7149987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057836" y="3736418"/>
            <a:ext cx="7149987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4051209" y="3539858"/>
            <a:ext cx="6827520" cy="15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/>
        </p:nvSpPr>
        <p:spPr bwMode="lt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3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49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684754" y="1511719"/>
            <a:ext cx="682752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91386" y="1785494"/>
            <a:ext cx="6935689" cy="185505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91386" y="8013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3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669915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55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97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3" y="1790359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48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670906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120571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565705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654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224532" y="219743"/>
            <a:ext cx="2527996" cy="10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7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-6509"/>
            <a:ext cx="12192000" cy="3796633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81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727960"/>
            <a:ext cx="12192000" cy="35255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1047570" y="1950405"/>
            <a:ext cx="10096865" cy="1080637"/>
          </a:xfrm>
          <a:prstGeom prst="rect">
            <a:avLst/>
          </a:prstGeom>
          <a:noFill/>
        </p:spPr>
        <p:txBody>
          <a:bodyPr wrap="square" lIns="121883" tIns="60941" rIns="121883" bIns="60941" rtlCol="0" anchor="ctr">
            <a:spAutoFit/>
          </a:bodyPr>
          <a:lstStyle/>
          <a:p>
            <a:pPr defTabSz="1218835">
              <a:lnSpc>
                <a:spcPts val="7464"/>
              </a:lnSpc>
            </a:pPr>
            <a:r>
              <a:rPr lang="en-US" sz="7200" b="1" dirty="0">
                <a:solidFill>
                  <a:srgbClr val="002776"/>
                </a:solidFill>
              </a:rPr>
              <a:t>THANK YOU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3" y="4030491"/>
            <a:ext cx="12191999" cy="2092880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ctr" defTabSz="1218835">
              <a:spcAft>
                <a:spcPts val="1600"/>
              </a:spcAft>
            </a:pPr>
            <a:r>
              <a:rPr lang="en-US" sz="2100" b="1" dirty="0">
                <a:solidFill>
                  <a:srgbClr val="009FDA"/>
                </a:solidFill>
              </a:rPr>
              <a:t>For More Information, Contact Us…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b="1" dirty="0">
                <a:solidFill>
                  <a:srgbClr val="616365"/>
                </a:solidFill>
              </a:rPr>
              <a:t>IRI Global Headquarters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150 North Clinton Street, Chicago, IL 60661-1416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IRI@IRIworldwide.com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+1 312.726.1221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dirty="0">
                <a:solidFill>
                  <a:srgbClr val="009FDA"/>
                </a:solidFill>
              </a:rPr>
              <a:t>Follow us on Twitter: </a:t>
            </a:r>
            <a:r>
              <a:rPr lang="en-US" sz="1600" b="1" dirty="0">
                <a:solidFill>
                  <a:srgbClr val="009FDA"/>
                </a:solidFill>
              </a:rPr>
              <a:t>@</a:t>
            </a:r>
            <a:r>
              <a:rPr lang="en-US" sz="1600" b="1" dirty="0" err="1">
                <a:solidFill>
                  <a:srgbClr val="009FDA"/>
                </a:solidFill>
              </a:rPr>
              <a:t>IRIworldwide</a:t>
            </a:r>
            <a:endParaRPr lang="en-US" sz="1600" b="1" dirty="0">
              <a:solidFill>
                <a:srgbClr val="009FDA"/>
              </a:solidFill>
            </a:endParaRP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8944188" y="1358139"/>
            <a:ext cx="1978993" cy="22793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669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01202" y="4597417"/>
            <a:ext cx="103632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09602" y="5218139"/>
            <a:ext cx="10369692" cy="438156"/>
          </a:xfr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accent3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24424" y="4413263"/>
            <a:ext cx="10943167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 txBox="1">
            <a:spLocks/>
          </p:cNvSpPr>
          <p:nvPr userDrawn="1"/>
        </p:nvSpPr>
        <p:spPr>
          <a:xfrm>
            <a:off x="609600" y="4122747"/>
            <a:ext cx="10363200" cy="5842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 spc="-100" baseline="0"/>
            </a:lvl1pPr>
          </a:lstStyle>
          <a:p>
            <a:pPr defTabSz="914125">
              <a:spcBef>
                <a:spcPct val="0"/>
              </a:spcBef>
              <a:defRPr/>
            </a:pPr>
            <a:endParaRPr lang="en-US" sz="1100" spc="100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8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33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02548"/>
      </p:ext>
    </p:extLst>
  </p:cSld>
  <p:clrMapOvr>
    <a:masterClrMapping/>
  </p:clrMapOvr>
  <p:transition>
    <p:fade thruBlk="1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89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hoto Sli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34F20A8-B5E2-4C7B-948F-E53E173FF75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240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BC5C8A-7EA1-4CA2-AE4A-49D443368AFD}"/>
              </a:ext>
            </a:extLst>
          </p:cNvPr>
          <p:cNvGrpSpPr/>
          <p:nvPr userDrawn="1"/>
        </p:nvGrpSpPr>
        <p:grpSpPr>
          <a:xfrm>
            <a:off x="1" y="6263640"/>
            <a:ext cx="12192000" cy="594360"/>
            <a:chOff x="0" y="4697730"/>
            <a:chExt cx="9144000" cy="445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38C231-B0F5-4BC1-91AC-2315A18E0060}"/>
                </a:ext>
              </a:extLst>
            </p:cNvPr>
            <p:cNvSpPr/>
            <p:nvPr userDrawn="1"/>
          </p:nvSpPr>
          <p:spPr bwMode="gray">
            <a:xfrm>
              <a:off x="0" y="4697730"/>
              <a:ext cx="9144000" cy="44577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835"/>
              <a:endParaRPr lang="en-US" sz="1900" dirty="0">
                <a:solidFill>
                  <a:prstClr val="white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050DA6-B7E5-4CDC-A6FD-4897B1DD3770}"/>
                </a:ext>
              </a:extLst>
            </p:cNvPr>
            <p:cNvSpPr txBox="1"/>
            <p:nvPr userDrawn="1"/>
          </p:nvSpPr>
          <p:spPr bwMode="gray">
            <a:xfrm>
              <a:off x="3706047" y="4844732"/>
              <a:ext cx="4699819" cy="161583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algn="r" defTabSz="1218835"/>
              <a:r>
                <a:rPr lang="en-US" sz="800" dirty="0">
                  <a:solidFill>
                    <a:prstClr val="white"/>
                  </a:solidFill>
                </a:rPr>
                <a:t>© 2018 Information Resources Inc. (IRI). Confidential and Proprietary.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F98908-D315-4626-A5B3-8029C865AA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9475" y="4753263"/>
              <a:ext cx="1001028" cy="36576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DBDA8A7-0DE1-4B54-A893-E28500C0C34A}"/>
                </a:ext>
              </a:extLst>
            </p:cNvPr>
            <p:cNvGrpSpPr/>
            <p:nvPr userDrawn="1"/>
          </p:nvGrpSpPr>
          <p:grpSpPr>
            <a:xfrm>
              <a:off x="359972" y="4774759"/>
              <a:ext cx="677675" cy="300418"/>
              <a:chOff x="359972" y="4774759"/>
              <a:chExt cx="677675" cy="300418"/>
            </a:xfrm>
          </p:grpSpPr>
          <p:pic>
            <p:nvPicPr>
              <p:cNvPr id="18" name="Picture 5">
                <a:extLst>
                  <a:ext uri="{FF2B5EF4-FFF2-40B4-BE49-F238E27FC236}">
                    <a16:creationId xmlns:a16="http://schemas.microsoft.com/office/drawing/2014/main" id="{B471AEC0-5202-4E25-8BC9-C872C0A8E27E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359972" y="4774759"/>
                <a:ext cx="677675" cy="290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AD0E22F-20A7-4628-88D6-4EF173F50B83}"/>
                  </a:ext>
                </a:extLst>
              </p:cNvPr>
              <p:cNvSpPr/>
              <p:nvPr userDrawn="1"/>
            </p:nvSpPr>
            <p:spPr>
              <a:xfrm>
                <a:off x="679837" y="5009305"/>
                <a:ext cx="357810" cy="658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835"/>
                <a:endParaRPr lang="en-US" sz="2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EA9AA88-0256-415C-9EE6-09130AA7EBC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400">
                <a:latin typeface="+mj-lt"/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EA82C9-F23C-4C22-BF0D-7F86C070DB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prstClr val="white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87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8060274"/>
              </p:ext>
            </p:extLst>
          </p:nvPr>
        </p:nvGraphicFramePr>
        <p:xfrm>
          <a:off x="2124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4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218835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50814"/>
            <a:ext cx="10972801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2790973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01" y="321757"/>
            <a:ext cx="10957984" cy="63181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9960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0" y="369864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1" y="1790358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67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1" y="1174745"/>
            <a:ext cx="11338559" cy="330200"/>
          </a:xfrm>
        </p:spPr>
        <p:txBody>
          <a:bodyPr/>
          <a:lstStyle>
            <a:lvl1pPr marL="0" indent="0">
              <a:buNone/>
              <a:defRPr sz="1867" b="1"/>
            </a:lvl1pPr>
            <a:lvl2pPr marL="350827" indent="0">
              <a:buNone/>
              <a:defRPr/>
            </a:lvl2pPr>
            <a:lvl3pPr marL="674671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23623" y="6121178"/>
            <a:ext cx="6264612" cy="169375"/>
          </a:xfrm>
        </p:spPr>
        <p:txBody>
          <a:bodyPr/>
          <a:lstStyle>
            <a:lvl1pPr algn="r"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887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9467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21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615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48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2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04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67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87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345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49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828480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244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028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298160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1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4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736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2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2"/>
            <a:ext cx="12192000" cy="46228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2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6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329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63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06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7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8069"/>
            <a:ext cx="12192000" cy="46126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9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8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634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5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9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532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81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2527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6" y="2855145"/>
            <a:ext cx="6051433" cy="206610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1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5" y="349251"/>
            <a:ext cx="7284940" cy="22232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799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– CAP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499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7836" y="1538026"/>
            <a:ext cx="7149987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057836" y="3736418"/>
            <a:ext cx="7149987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4051209" y="3539858"/>
            <a:ext cx="6827520" cy="15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/>
        </p:nvSpPr>
        <p:spPr bwMode="lt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29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684754" y="1511719"/>
            <a:ext cx="682752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91386" y="1785494"/>
            <a:ext cx="6935689" cy="185505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91386" y="8013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20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1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583571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58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05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3" y="1790359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42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726590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308153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27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719569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78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224532" y="219743"/>
            <a:ext cx="2527996" cy="10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7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-6509"/>
            <a:ext cx="12192000" cy="3796633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158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727960"/>
            <a:ext cx="12192000" cy="35255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1047570" y="1950405"/>
            <a:ext cx="10096865" cy="1080637"/>
          </a:xfrm>
          <a:prstGeom prst="rect">
            <a:avLst/>
          </a:prstGeom>
          <a:noFill/>
        </p:spPr>
        <p:txBody>
          <a:bodyPr wrap="square" lIns="121883" tIns="60941" rIns="121883" bIns="60941" rtlCol="0" anchor="ctr">
            <a:spAutoFit/>
          </a:bodyPr>
          <a:lstStyle/>
          <a:p>
            <a:pPr defTabSz="1218835">
              <a:lnSpc>
                <a:spcPts val="7464"/>
              </a:lnSpc>
            </a:pPr>
            <a:r>
              <a:rPr lang="en-US" sz="7200" b="1" dirty="0">
                <a:solidFill>
                  <a:srgbClr val="002776"/>
                </a:solidFill>
              </a:rPr>
              <a:t>THANK YOU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3" y="4030491"/>
            <a:ext cx="12191999" cy="2092880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ctr" defTabSz="1218835">
              <a:spcAft>
                <a:spcPts val="1600"/>
              </a:spcAft>
            </a:pPr>
            <a:r>
              <a:rPr lang="en-US" sz="2100" b="1" dirty="0">
                <a:solidFill>
                  <a:srgbClr val="009FDA"/>
                </a:solidFill>
              </a:rPr>
              <a:t>For More Information, Contact Us…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b="1" dirty="0">
                <a:solidFill>
                  <a:srgbClr val="616365"/>
                </a:solidFill>
              </a:rPr>
              <a:t>IRI Global Headquarters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150 North Clinton Street, Chicago, IL 60661-1416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IRI@IRIworldwide.com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+1 312.726.1221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dirty="0">
                <a:solidFill>
                  <a:srgbClr val="009FDA"/>
                </a:solidFill>
              </a:rPr>
              <a:t>Follow us on Twitter: </a:t>
            </a:r>
            <a:r>
              <a:rPr lang="en-US" sz="1600" b="1" dirty="0">
                <a:solidFill>
                  <a:srgbClr val="009FDA"/>
                </a:solidFill>
              </a:rPr>
              <a:t>@</a:t>
            </a:r>
            <a:r>
              <a:rPr lang="en-US" sz="1600" b="1" dirty="0" err="1">
                <a:solidFill>
                  <a:srgbClr val="009FDA"/>
                </a:solidFill>
              </a:rPr>
              <a:t>IRIworldwide</a:t>
            </a:r>
            <a:endParaRPr lang="en-US" sz="1600" b="1" dirty="0">
              <a:solidFill>
                <a:srgbClr val="009FDA"/>
              </a:solidFill>
            </a:endParaRP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8944188" y="1358139"/>
            <a:ext cx="1978993" cy="22793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28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01202" y="4597417"/>
            <a:ext cx="103632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09602" y="5218139"/>
            <a:ext cx="10369692" cy="438156"/>
          </a:xfr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accent3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24424" y="4413263"/>
            <a:ext cx="10943167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 txBox="1">
            <a:spLocks/>
          </p:cNvSpPr>
          <p:nvPr userDrawn="1"/>
        </p:nvSpPr>
        <p:spPr>
          <a:xfrm>
            <a:off x="609600" y="4122747"/>
            <a:ext cx="10363200" cy="5842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 spc="-100" baseline="0"/>
            </a:lvl1pPr>
          </a:lstStyle>
          <a:p>
            <a:pPr defTabSz="914125">
              <a:spcBef>
                <a:spcPct val="0"/>
              </a:spcBef>
              <a:defRPr/>
            </a:pPr>
            <a:endParaRPr lang="en-US" sz="1100" spc="100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8787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394590"/>
      </p:ext>
    </p:extLst>
  </p:cSld>
  <p:clrMapOvr>
    <a:masterClrMapping/>
  </p:clrMapOvr>
  <p:transition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20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hoto Sli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34F20A8-B5E2-4C7B-948F-E53E173FF75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240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BC5C8A-7EA1-4CA2-AE4A-49D443368AFD}"/>
              </a:ext>
            </a:extLst>
          </p:cNvPr>
          <p:cNvGrpSpPr/>
          <p:nvPr userDrawn="1"/>
        </p:nvGrpSpPr>
        <p:grpSpPr>
          <a:xfrm>
            <a:off x="1" y="6263640"/>
            <a:ext cx="12192000" cy="594360"/>
            <a:chOff x="0" y="4697730"/>
            <a:chExt cx="9144000" cy="445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38C231-B0F5-4BC1-91AC-2315A18E0060}"/>
                </a:ext>
              </a:extLst>
            </p:cNvPr>
            <p:cNvSpPr/>
            <p:nvPr userDrawn="1"/>
          </p:nvSpPr>
          <p:spPr bwMode="gray">
            <a:xfrm>
              <a:off x="0" y="4697730"/>
              <a:ext cx="9144000" cy="44577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835"/>
              <a:endParaRPr lang="en-US" sz="1900" dirty="0">
                <a:solidFill>
                  <a:prstClr val="white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050DA6-B7E5-4CDC-A6FD-4897B1DD3770}"/>
                </a:ext>
              </a:extLst>
            </p:cNvPr>
            <p:cNvSpPr txBox="1"/>
            <p:nvPr userDrawn="1"/>
          </p:nvSpPr>
          <p:spPr bwMode="gray">
            <a:xfrm>
              <a:off x="3706047" y="4844732"/>
              <a:ext cx="4699819" cy="161583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algn="r" defTabSz="1218835"/>
              <a:r>
                <a:rPr lang="en-US" sz="800" dirty="0">
                  <a:solidFill>
                    <a:prstClr val="white"/>
                  </a:solidFill>
                </a:rPr>
                <a:t>© 2018 Information Resources Inc. (IRI). Confidential and Proprietary.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F98908-D315-4626-A5B3-8029C865AA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9475" y="4753263"/>
              <a:ext cx="1001028" cy="36576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DBDA8A7-0DE1-4B54-A893-E28500C0C34A}"/>
                </a:ext>
              </a:extLst>
            </p:cNvPr>
            <p:cNvGrpSpPr/>
            <p:nvPr userDrawn="1"/>
          </p:nvGrpSpPr>
          <p:grpSpPr>
            <a:xfrm>
              <a:off x="359972" y="4774759"/>
              <a:ext cx="677675" cy="300418"/>
              <a:chOff x="359972" y="4774759"/>
              <a:chExt cx="677675" cy="300418"/>
            </a:xfrm>
          </p:grpSpPr>
          <p:pic>
            <p:nvPicPr>
              <p:cNvPr id="18" name="Picture 5">
                <a:extLst>
                  <a:ext uri="{FF2B5EF4-FFF2-40B4-BE49-F238E27FC236}">
                    <a16:creationId xmlns:a16="http://schemas.microsoft.com/office/drawing/2014/main" id="{B471AEC0-5202-4E25-8BC9-C872C0A8E27E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359972" y="4774759"/>
                <a:ext cx="677675" cy="290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AD0E22F-20A7-4628-88D6-4EF173F50B83}"/>
                  </a:ext>
                </a:extLst>
              </p:cNvPr>
              <p:cNvSpPr/>
              <p:nvPr userDrawn="1"/>
            </p:nvSpPr>
            <p:spPr>
              <a:xfrm>
                <a:off x="679837" y="5009305"/>
                <a:ext cx="357810" cy="658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835"/>
                <a:endParaRPr lang="en-US" sz="2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EA9AA88-0256-415C-9EE6-09130AA7EBC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400">
                <a:latin typeface="+mj-lt"/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EA82C9-F23C-4C22-BF0D-7F86C070DB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prstClr val="white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81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01" y="321757"/>
            <a:ext cx="10957984" cy="63181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9678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7" imgH="305" progId="TCLayout.ActiveDocument.1">
                  <p:embed/>
                </p:oleObj>
              </mc:Choice>
              <mc:Fallback>
                <p:oleObj name="think-cell Slide" r:id="rId3" imgW="407" imgH="30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1200" y="1219200"/>
            <a:ext cx="5181600" cy="49530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219200"/>
            <a:ext cx="5181600" cy="49530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3980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83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9467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12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41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85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14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2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0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17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95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345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22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244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2753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5923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0" y="4160490"/>
            <a:ext cx="4984744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60" y="5291395"/>
            <a:ext cx="4984744" cy="4659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266" y="12619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60" y="6016217"/>
            <a:ext cx="1472529" cy="63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01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1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6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736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17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2"/>
            <a:ext cx="12192000" cy="46228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89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6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329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7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8069"/>
            <a:ext cx="12192000" cy="46126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4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8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634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6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9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6532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4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2527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6" y="2855145"/>
            <a:ext cx="6051433" cy="206610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2400"/>
              </a:spcAft>
              <a:buNone/>
              <a:defRPr sz="21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5" y="349251"/>
            <a:ext cx="7284940" cy="22232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799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– CAP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7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7836" y="1538026"/>
            <a:ext cx="7149987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057836" y="3736418"/>
            <a:ext cx="7149987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4051209" y="3539858"/>
            <a:ext cx="6827520" cy="15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/>
        </p:nvSpPr>
        <p:spPr bwMode="lt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37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684754" y="1511719"/>
            <a:ext cx="682752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91386" y="1785494"/>
            <a:ext cx="6935689" cy="185505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91386" y="801379"/>
            <a:ext cx="6935689" cy="438156"/>
          </a:xfrm>
        </p:spPr>
        <p:txBody>
          <a:bodyPr anchor="b">
            <a:noAutofit/>
          </a:bodyPr>
          <a:lstStyle>
            <a:lvl1pPr marL="0" indent="0" algn="l">
              <a:buNone/>
              <a:defRPr sz="2100" b="1">
                <a:ln>
                  <a:noFill/>
                </a:ln>
                <a:solidFill>
                  <a:schemeClr val="bg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20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7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47345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62" y="4160490"/>
            <a:ext cx="6942315" cy="6207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5266" y="2068115"/>
            <a:ext cx="6935689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4533"/>
              </a:lnSpc>
              <a:defRPr sz="43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1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89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" y="6054373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4941401" y="6459645"/>
            <a:ext cx="6266425" cy="23079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>
            <a:defPPr>
              <a:defRPr lang="en-US"/>
            </a:defPPr>
            <a:lvl1pPr algn="r">
              <a:defRPr sz="700" b="0" i="1">
                <a:solidFill>
                  <a:srgbClr val="616365"/>
                </a:solidFill>
              </a:defRPr>
            </a:lvl1pPr>
          </a:lstStyle>
          <a:p>
            <a:pPr defTabSz="1218835"/>
            <a:r>
              <a:rPr lang="en-US" sz="700" dirty="0"/>
              <a:t>© 2018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283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723" y="1790359"/>
            <a:ext cx="11338559" cy="43754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9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68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287827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734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1"/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224532" y="219743"/>
            <a:ext cx="2527996" cy="10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27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-6509"/>
            <a:ext cx="12192000" cy="3796633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74745"/>
            <a:ext cx="11338559" cy="330200"/>
          </a:xfrm>
        </p:spPr>
        <p:txBody>
          <a:bodyPr/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  <a:lvl2pPr marL="350731" indent="0">
              <a:buNone/>
              <a:defRPr/>
            </a:lvl2pPr>
            <a:lvl3pPr marL="674486" indent="0">
              <a:buNone/>
              <a:defRPr/>
            </a:lvl3pPr>
            <a:lvl4pPr marL="1371188" indent="0">
              <a:buNone/>
              <a:defRPr/>
            </a:lvl4pPr>
            <a:lvl5pPr marL="182825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46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" y="727960"/>
            <a:ext cx="12192000" cy="35255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1047570" y="1950405"/>
            <a:ext cx="10096865" cy="1080637"/>
          </a:xfrm>
          <a:prstGeom prst="rect">
            <a:avLst/>
          </a:prstGeom>
          <a:noFill/>
        </p:spPr>
        <p:txBody>
          <a:bodyPr wrap="square" lIns="121883" tIns="60941" rIns="121883" bIns="60941" rtlCol="0" anchor="ctr">
            <a:spAutoFit/>
          </a:bodyPr>
          <a:lstStyle/>
          <a:p>
            <a:pPr defTabSz="1218835">
              <a:lnSpc>
                <a:spcPts val="7464"/>
              </a:lnSpc>
            </a:pPr>
            <a:r>
              <a:rPr lang="en-US" sz="7200" b="1" dirty="0">
                <a:solidFill>
                  <a:srgbClr val="002776"/>
                </a:solidFill>
              </a:rPr>
              <a:t>THANK YOU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3" y="4030491"/>
            <a:ext cx="12191999" cy="2092880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ctr" defTabSz="1218835">
              <a:spcAft>
                <a:spcPts val="1600"/>
              </a:spcAft>
            </a:pPr>
            <a:r>
              <a:rPr lang="en-US" sz="2100" b="1" dirty="0">
                <a:solidFill>
                  <a:srgbClr val="009FDA"/>
                </a:solidFill>
              </a:rPr>
              <a:t>For More Information, Contact Us…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b="1" dirty="0">
                <a:solidFill>
                  <a:srgbClr val="616365"/>
                </a:solidFill>
              </a:rPr>
              <a:t>IRI Global Headquarters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150 North Clinton Street, Chicago, IL 60661-1416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IRI@IRIworldwide.com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+1 312.726.1221</a:t>
            </a:r>
          </a:p>
          <a:p>
            <a:pPr algn="ctr" defTabSz="1218835">
              <a:spcAft>
                <a:spcPts val="1600"/>
              </a:spcAft>
            </a:pPr>
            <a:r>
              <a:rPr lang="en-US" sz="1600" dirty="0">
                <a:solidFill>
                  <a:srgbClr val="009FDA"/>
                </a:solidFill>
              </a:rPr>
              <a:t>Follow us on Twitter: </a:t>
            </a:r>
            <a:r>
              <a:rPr lang="en-US" sz="1600" b="1" dirty="0">
                <a:solidFill>
                  <a:srgbClr val="009FDA"/>
                </a:solidFill>
              </a:rPr>
              <a:t>@</a:t>
            </a:r>
            <a:r>
              <a:rPr lang="en-US" sz="1600" b="1" dirty="0" err="1">
                <a:solidFill>
                  <a:srgbClr val="009FDA"/>
                </a:solidFill>
              </a:rPr>
              <a:t>IRIworldwide</a:t>
            </a:r>
            <a:endParaRPr lang="en-US" sz="1600" b="1" dirty="0">
              <a:solidFill>
                <a:srgbClr val="009FDA"/>
              </a:solidFill>
            </a:endParaRP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8944188" y="1358139"/>
            <a:ext cx="1978993" cy="22793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331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01202" y="4597417"/>
            <a:ext cx="103632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09602" y="5218139"/>
            <a:ext cx="10369692" cy="438156"/>
          </a:xfr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accent3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24424" y="4413263"/>
            <a:ext cx="10943167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 txBox="1">
            <a:spLocks/>
          </p:cNvSpPr>
          <p:nvPr userDrawn="1"/>
        </p:nvSpPr>
        <p:spPr>
          <a:xfrm>
            <a:off x="609600" y="4122747"/>
            <a:ext cx="10363200" cy="5842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 spc="-100" baseline="0"/>
            </a:lvl1pPr>
          </a:lstStyle>
          <a:p>
            <a:pPr defTabSz="914125">
              <a:spcBef>
                <a:spcPct val="0"/>
              </a:spcBef>
              <a:defRPr/>
            </a:pPr>
            <a:endParaRPr lang="en-US" sz="1100" spc="100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2431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641657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oleObject" Target="../embeddings/oleObject8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ags" Target="../tags/tag1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ags" Target="../tags/tag1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tags" Target="../tags/tag20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42" Type="http://schemas.openxmlformats.org/officeDocument/2006/relationships/image" Target="../media/image2.wmf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theme" Target="../theme/theme3.xml"/><Relationship Id="rId40" Type="http://schemas.openxmlformats.org/officeDocument/2006/relationships/oleObject" Target="../embeddings/oleObject15.bin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oleObject" Target="../embeddings/oleObject23.bin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3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34" Type="http://schemas.openxmlformats.org/officeDocument/2006/relationships/image" Target="../media/image15.emf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oleObject" Target="../embeddings/oleObject26.bin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tags" Target="../tags/tag34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299580977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21" imgH="420" progId="TCLayout.ActiveDocument.1">
                  <p:embed/>
                </p:oleObj>
              </mc:Choice>
              <mc:Fallback>
                <p:oleObj name="think-cell Slide" r:id="rId39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2 Information Resources Inc. (IRI). Confidential and Proprietary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26722" y="1279157"/>
            <a:ext cx="11155680" cy="4923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IRI_logo_RGB.wmf"/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08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770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125" rtl="0" eaLnBrk="1" latinLnBrk="0" hangingPunct="1"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26946" indent="-226946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574502" indent="-223771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3018" indent="-228532" algn="l" defTabSz="211232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80000"/>
        <a:buFont typeface="Courier New"/>
        <a:buChar char="o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7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5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3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05362054"/>
              </p:ext>
            </p:ext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21" imgH="420" progId="TCLayout.ActiveDocument.1">
                  <p:embed/>
                </p:oleObj>
              </mc:Choice>
              <mc:Fallback>
                <p:oleObj name="think-cell Slide" r:id="rId38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2 Information Resources Inc. (IRI). Confidential and Proprietary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26722" y="1279157"/>
            <a:ext cx="11155680" cy="4923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IRI_logo_RGB.wmf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05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8" r:id="rId32"/>
    <p:sldLayoutId id="2147483730" r:id="rId33"/>
    <p:sldLayoutId id="2147483731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125" rtl="0" eaLnBrk="1" latinLnBrk="0" hangingPunct="1"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26946" indent="-226946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574502" indent="-223771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3018" indent="-228532" algn="l" defTabSz="211232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80000"/>
        <a:buFont typeface="Courier New"/>
        <a:buChar char="o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7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5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3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212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1" imgH="420" progId="TCLayout.ActiveDocument.1">
                  <p:embed/>
                </p:oleObj>
              </mc:Choice>
              <mc:Fallback>
                <p:oleObj name="think-cell Slide" r:id="rId40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2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1" y="369865"/>
            <a:ext cx="11338560" cy="6318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" y="6263640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41401" y="6459645"/>
            <a:ext cx="6266425" cy="266724"/>
          </a:xfrm>
          <a:prstGeom prst="rect">
            <a:avLst/>
          </a:prstGeom>
          <a:noFill/>
        </p:spPr>
        <p:txBody>
          <a:bodyPr wrap="square" lIns="0" tIns="60941" rIns="121883" bIns="60941" rtlCol="0">
            <a:spAutoFit/>
          </a:bodyPr>
          <a:lstStyle/>
          <a:p>
            <a:pPr algn="r" defTabSz="1218835"/>
            <a:r>
              <a:rPr lang="en-US" sz="900" i="1" dirty="0">
                <a:solidFill>
                  <a:srgbClr val="616365"/>
                </a:solidFill>
              </a:rPr>
              <a:t>© 2022 Information Resources Inc. (IRI). Confidential and Proprietary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26722" y="1279157"/>
            <a:ext cx="11155680" cy="4923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 bwMode="gray">
          <a:xfrm>
            <a:off x="10964403" y="6446521"/>
            <a:ext cx="753614" cy="365125"/>
          </a:xfrm>
          <a:prstGeom prst="rect">
            <a:avLst/>
          </a:prstGeom>
        </p:spPr>
        <p:txBody>
          <a:bodyPr lIns="121883" tIns="60941" rIns="121883" bIns="6094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125">
              <a:defRPr/>
            </a:pPr>
            <a:fld id="{608A646B-FACF-4B82-BDFC-72A0DF7DA70D}" type="slidenum">
              <a:rPr lang="en-US" sz="1100" b="1" smtClean="0">
                <a:solidFill>
                  <a:srgbClr val="616365"/>
                </a:solidFill>
              </a:rPr>
              <a:pPr defTabSz="914125">
                <a:defRPr/>
              </a:pPr>
              <a:t>‹#›</a:t>
            </a:fld>
            <a:endParaRPr lang="en-US" sz="1100" b="1" dirty="0">
              <a:solidFill>
                <a:srgbClr val="616365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" y="-6511"/>
            <a:ext cx="12192000" cy="21324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3" tIns="60941" rIns="121883" bIns="60941" rtlCol="0" anchor="ctr"/>
          <a:lstStyle/>
          <a:p>
            <a:pPr algn="ctr" defTabSz="1218835"/>
            <a:endParaRPr lang="en-US" sz="1900" dirty="0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26721" y="1081566"/>
            <a:ext cx="11338560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IRI_logo_RGB.wmf"/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83926"/>
            <a:ext cx="667960" cy="36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92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125" rtl="0" eaLnBrk="1" latinLnBrk="0" hangingPunct="1"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26946" indent="-226946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574502" indent="-223771" algn="l" defTabSz="9141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3018" indent="-228532" algn="l" defTabSz="211232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80000"/>
        <a:buFont typeface="Courier New"/>
        <a:buChar char="o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2" algn="l" defTabSz="914125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7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5" indent="-228532" algn="l" defTabSz="9141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3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16733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33146" y="26923"/>
            <a:ext cx="1072570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400" b="1" i="0">
                <a:solidFill>
                  <a:srgbClr val="369051"/>
                </a:solidFill>
                <a:latin typeface="Corbel"/>
                <a:cs typeface="Corbe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24815" y="2070778"/>
            <a:ext cx="5836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20700" y="6609373"/>
            <a:ext cx="5022427" cy="2363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7" b="0" i="0">
                <a:solidFill>
                  <a:srgbClr val="434043"/>
                </a:solidFill>
                <a:latin typeface="Corbel"/>
                <a:cs typeface="Corbel"/>
              </a:defRPr>
            </a:lvl1pPr>
          </a:lstStyle>
          <a:p>
            <a:pPr>
              <a:lnSpc>
                <a:spcPts val="1767"/>
              </a:lnSpc>
            </a:pPr>
            <a:r>
              <a:rPr lang="en-US" spc="-7"/>
              <a:t>C</a:t>
            </a:r>
            <a:r>
              <a:rPr lang="en-US" spc="-13"/>
              <a:t>ON</a:t>
            </a:r>
            <a:r>
              <a:rPr lang="en-US" spc="-7"/>
              <a:t>FI</a:t>
            </a:r>
            <a:r>
              <a:rPr lang="en-US"/>
              <a:t>DE</a:t>
            </a:r>
            <a:r>
              <a:rPr lang="en-US" spc="-13"/>
              <a:t>N</a:t>
            </a:r>
            <a:r>
              <a:rPr lang="en-US" spc="-7"/>
              <a:t>TIA</a:t>
            </a:r>
            <a:r>
              <a:rPr lang="en-US"/>
              <a:t>L</a:t>
            </a:r>
            <a:r>
              <a:rPr lang="en-US" spc="-33"/>
              <a:t> </a:t>
            </a:r>
            <a:r>
              <a:rPr lang="en-US"/>
              <a:t>–</a:t>
            </a:r>
            <a:r>
              <a:rPr lang="en-US" spc="-13"/>
              <a:t> </a:t>
            </a:r>
            <a:r>
              <a:rPr lang="en-US"/>
              <a:t>DO</a:t>
            </a:r>
            <a:r>
              <a:rPr lang="en-US" spc="-20"/>
              <a:t> </a:t>
            </a:r>
            <a:r>
              <a:rPr lang="en-US" spc="-13"/>
              <a:t>N</a:t>
            </a:r>
            <a:r>
              <a:rPr lang="en-US" spc="-60"/>
              <a:t>O</a:t>
            </a:r>
            <a:r>
              <a:rPr lang="en-US"/>
              <a:t>T</a:t>
            </a:r>
            <a:r>
              <a:rPr lang="en-US" spc="-60"/>
              <a:t> </a:t>
            </a:r>
            <a:r>
              <a:rPr lang="en-US"/>
              <a:t>SHA</a:t>
            </a:r>
            <a:r>
              <a:rPr lang="en-US" spc="-13"/>
              <a:t>R</a:t>
            </a:r>
            <a:r>
              <a:rPr lang="en-US"/>
              <a:t>E</a:t>
            </a:r>
            <a:r>
              <a:rPr lang="en-US" spc="-100"/>
              <a:t> </a:t>
            </a:r>
            <a:r>
              <a:rPr lang="en-US" spc="-13"/>
              <a:t>O</a:t>
            </a:r>
            <a:r>
              <a:rPr lang="en-US"/>
              <a:t>R DIS</a:t>
            </a:r>
            <a:r>
              <a:rPr lang="en-US" spc="-7"/>
              <a:t>T</a:t>
            </a:r>
            <a:r>
              <a:rPr lang="en-US" spc="-13"/>
              <a:t>R</a:t>
            </a:r>
            <a:r>
              <a:rPr lang="en-US"/>
              <a:t>IBU</a:t>
            </a:r>
            <a:r>
              <a:rPr lang="en-US" spc="-20"/>
              <a:t>T</a:t>
            </a:r>
            <a:r>
              <a:rPr lang="en-US"/>
              <a:t>E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038171" y="6372238"/>
            <a:ext cx="5054600" cy="505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333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pPr marR="231981" algn="r">
              <a:lnSpc>
                <a:spcPts val="1387"/>
              </a:lnSpc>
            </a:pPr>
            <a:fld id="{81D60167-4931-47E6-BA6A-407CBD079E47}" type="slidenum">
              <a:rPr lang="en-US" spc="-7" smtClean="0"/>
              <a:pPr marR="231981" algn="r">
                <a:lnSpc>
                  <a:spcPts val="1387"/>
                </a:lnSpc>
              </a:pPr>
              <a:t>‹#›</a:t>
            </a:fld>
            <a:endParaRPr lang="en-US" spc="-7"/>
          </a:p>
          <a:p>
            <a:pPr marL="16933">
              <a:spcBef>
                <a:spcPts val="347"/>
              </a:spcBef>
            </a:pPr>
            <a:r>
              <a:rPr lang="en-US" sz="1867" b="0" spc="-7"/>
              <a:t>CONFIDENTIAL</a:t>
            </a:r>
            <a:r>
              <a:rPr lang="en-US" sz="1867" b="0" spc="-27"/>
              <a:t> </a:t>
            </a:r>
            <a:r>
              <a:rPr lang="en-US" sz="1867" b="0"/>
              <a:t>–</a:t>
            </a:r>
            <a:r>
              <a:rPr lang="en-US" sz="1867" b="0" spc="-7"/>
              <a:t> </a:t>
            </a:r>
            <a:r>
              <a:rPr lang="en-US" sz="1867" b="0"/>
              <a:t>DO</a:t>
            </a:r>
            <a:r>
              <a:rPr lang="en-US" sz="1867" b="0" spc="-7"/>
              <a:t> </a:t>
            </a:r>
            <a:r>
              <a:rPr lang="en-US" sz="1867" b="0" spc="-27"/>
              <a:t>NOT</a:t>
            </a:r>
            <a:r>
              <a:rPr lang="en-US" sz="1867" b="0" spc="-53"/>
              <a:t> </a:t>
            </a:r>
            <a:r>
              <a:rPr lang="en-US" sz="1867" b="0" spc="-7"/>
              <a:t>SHARE</a:t>
            </a:r>
            <a:r>
              <a:rPr lang="en-US" sz="1867" b="0" spc="-93"/>
              <a:t> </a:t>
            </a:r>
            <a:r>
              <a:rPr lang="en-US" sz="1867" b="0" spc="-7"/>
              <a:t>OR</a:t>
            </a:r>
            <a:r>
              <a:rPr lang="en-US" sz="1867" b="0" spc="7"/>
              <a:t> </a:t>
            </a:r>
            <a:r>
              <a:rPr lang="en-US" sz="1867" b="0" spc="-7"/>
              <a:t>DISTRIBUTE</a:t>
            </a:r>
            <a:endParaRPr lang="en-US" sz="1867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718D936-2388-42B5-83C8-A0E205E6E50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42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609585" eaLnBrk="1" hangingPunct="1">
        <a:defRPr>
          <a:latin typeface="+mn-lt"/>
          <a:ea typeface="+mn-ea"/>
          <a:cs typeface="+mn-cs"/>
        </a:defRPr>
      </a:lvl2pPr>
      <a:lvl3pPr marL="1219170" eaLnBrk="1" hangingPunct="1">
        <a:defRPr>
          <a:latin typeface="+mn-lt"/>
          <a:ea typeface="+mn-ea"/>
          <a:cs typeface="+mn-cs"/>
        </a:defRPr>
      </a:lvl3pPr>
      <a:lvl4pPr marL="1828754" eaLnBrk="1" hangingPunct="1">
        <a:defRPr>
          <a:latin typeface="+mn-lt"/>
          <a:ea typeface="+mn-ea"/>
          <a:cs typeface="+mn-cs"/>
        </a:defRPr>
      </a:lvl4pPr>
      <a:lvl5pPr marL="2438339" eaLnBrk="1" hangingPunct="1">
        <a:defRPr>
          <a:latin typeface="+mn-lt"/>
          <a:ea typeface="+mn-ea"/>
          <a:cs typeface="+mn-cs"/>
        </a:defRPr>
      </a:lvl5pPr>
      <a:lvl6pPr marL="3047924" eaLnBrk="1" hangingPunct="1">
        <a:defRPr>
          <a:latin typeface="+mn-lt"/>
          <a:ea typeface="+mn-ea"/>
          <a:cs typeface="+mn-cs"/>
        </a:defRPr>
      </a:lvl6pPr>
      <a:lvl7pPr marL="3657509" eaLnBrk="1" hangingPunct="1">
        <a:defRPr>
          <a:latin typeface="+mn-lt"/>
          <a:ea typeface="+mn-ea"/>
          <a:cs typeface="+mn-cs"/>
        </a:defRPr>
      </a:lvl7pPr>
      <a:lvl8pPr marL="4267093" eaLnBrk="1" hangingPunct="1">
        <a:defRPr>
          <a:latin typeface="+mn-lt"/>
          <a:ea typeface="+mn-ea"/>
          <a:cs typeface="+mn-cs"/>
        </a:defRPr>
      </a:lvl8pPr>
      <a:lvl9pPr marL="4876678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609585" eaLnBrk="1" hangingPunct="1">
        <a:defRPr>
          <a:latin typeface="+mn-lt"/>
          <a:ea typeface="+mn-ea"/>
          <a:cs typeface="+mn-cs"/>
        </a:defRPr>
      </a:lvl2pPr>
      <a:lvl3pPr marL="1219170" eaLnBrk="1" hangingPunct="1">
        <a:defRPr>
          <a:latin typeface="+mn-lt"/>
          <a:ea typeface="+mn-ea"/>
          <a:cs typeface="+mn-cs"/>
        </a:defRPr>
      </a:lvl3pPr>
      <a:lvl4pPr marL="1828754" eaLnBrk="1" hangingPunct="1">
        <a:defRPr>
          <a:latin typeface="+mn-lt"/>
          <a:ea typeface="+mn-ea"/>
          <a:cs typeface="+mn-cs"/>
        </a:defRPr>
      </a:lvl4pPr>
      <a:lvl5pPr marL="2438339" eaLnBrk="1" hangingPunct="1">
        <a:defRPr>
          <a:latin typeface="+mn-lt"/>
          <a:ea typeface="+mn-ea"/>
          <a:cs typeface="+mn-cs"/>
        </a:defRPr>
      </a:lvl5pPr>
      <a:lvl6pPr marL="3047924" eaLnBrk="1" hangingPunct="1">
        <a:defRPr>
          <a:latin typeface="+mn-lt"/>
          <a:ea typeface="+mn-ea"/>
          <a:cs typeface="+mn-cs"/>
        </a:defRPr>
      </a:lvl6pPr>
      <a:lvl7pPr marL="3657509" eaLnBrk="1" hangingPunct="1">
        <a:defRPr>
          <a:latin typeface="+mn-lt"/>
          <a:ea typeface="+mn-ea"/>
          <a:cs typeface="+mn-cs"/>
        </a:defRPr>
      </a:lvl7pPr>
      <a:lvl8pPr marL="4267093" eaLnBrk="1" hangingPunct="1">
        <a:defRPr>
          <a:latin typeface="+mn-lt"/>
          <a:ea typeface="+mn-ea"/>
          <a:cs typeface="+mn-cs"/>
        </a:defRPr>
      </a:lvl8pPr>
      <a:lvl9pPr marL="4876678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597812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21" imgH="423" progId="TCLayout.ActiveDocument.1">
                  <p:embed/>
                </p:oleObj>
              </mc:Choice>
              <mc:Fallback>
                <p:oleObj name="think-cell Slide" r:id="rId33" imgW="421" imgH="4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1675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380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41294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  <p:sldLayoutId id="2147483805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</p:sldLayoutIdLst>
  <p:hf hdr="0" ftr="0" dt="0"/>
  <p:txStyles>
    <p:titleStyle>
      <a:lvl1pPr algn="l" defTabSz="609585" rtl="0" eaLnBrk="1" latinLnBrk="0" hangingPunct="1">
        <a:lnSpc>
          <a:spcPts val="4267"/>
        </a:lnSpc>
        <a:spcBef>
          <a:spcPct val="0"/>
        </a:spcBef>
        <a:buNone/>
        <a:defRPr sz="4800" b="1" kern="1200" baseline="0">
          <a:solidFill>
            <a:srgbClr val="E89D3B"/>
          </a:solidFill>
          <a:latin typeface="+mj-lt"/>
          <a:ea typeface="+mj-ea"/>
          <a:cs typeface="+mj-cs"/>
        </a:defRPr>
      </a:lvl1pPr>
    </p:titleStyle>
    <p:bodyStyle>
      <a:lvl1pPr marL="97534" indent="-219451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21776" indent="-256026" algn="l" defTabSz="60958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182875" algn="l" defTabSz="60958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158211" indent="-182875" algn="l" defTabSz="609585" rtl="0" eaLnBrk="1" latinLnBrk="0" hangingPunct="1">
        <a:spcBef>
          <a:spcPct val="20000"/>
        </a:spcBef>
        <a:buFont typeface="Arial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4.xml"/><Relationship Id="rId5" Type="http://schemas.openxmlformats.org/officeDocument/2006/relationships/image" Target="../media/image53.png"/><Relationship Id="rId4" Type="http://schemas.openxmlformats.org/officeDocument/2006/relationships/image" Target="../media/image52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chart" Target="../charts/chart7.xml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6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5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6.xml"/><Relationship Id="rId6" Type="http://schemas.openxmlformats.org/officeDocument/2006/relationships/chart" Target="../charts/chart8.xml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6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6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6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46.xml"/><Relationship Id="rId5" Type="http://schemas.openxmlformats.org/officeDocument/2006/relationships/chart" Target="../charts/chart9.xml"/><Relationship Id="rId4" Type="http://schemas.openxmlformats.org/officeDocument/2006/relationships/image" Target="../media/image6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46.xml"/><Relationship Id="rId5" Type="http://schemas.openxmlformats.org/officeDocument/2006/relationships/chart" Target="../charts/chart10.xml"/><Relationship Id="rId4" Type="http://schemas.openxmlformats.org/officeDocument/2006/relationships/image" Target="../media/image6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46.xml"/><Relationship Id="rId5" Type="http://schemas.openxmlformats.org/officeDocument/2006/relationships/chart" Target="../charts/chart11.xml"/><Relationship Id="rId4" Type="http://schemas.openxmlformats.org/officeDocument/2006/relationships/image" Target="../media/image69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chart" Target="../charts/chart14.xm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6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image" Target="../media/image69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tmp"/><Relationship Id="rId1" Type="http://schemas.openxmlformats.org/officeDocument/2006/relationships/slideLayout" Target="../slideLayouts/slideLayout1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6.xml"/><Relationship Id="rId6" Type="http://schemas.openxmlformats.org/officeDocument/2006/relationships/chart" Target="../charts/chart1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3F7F114-75FE-036E-AE27-1EAB97304281}"/>
              </a:ext>
            </a:extLst>
          </p:cNvPr>
          <p:cNvSpPr/>
          <p:nvPr/>
        </p:nvSpPr>
        <p:spPr>
          <a:xfrm>
            <a:off x="5562600" y="685800"/>
            <a:ext cx="5105400" cy="51054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B0F4548-D1F0-F450-E75D-54EF7E5BB5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6800" y="1600200"/>
            <a:ext cx="3657600" cy="2169042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17644C62-98A1-A1AE-E564-38E27EBEFAEE}"/>
              </a:ext>
            </a:extLst>
          </p:cNvPr>
          <p:cNvSpPr txBox="1">
            <a:spLocks/>
          </p:cNvSpPr>
          <p:nvPr/>
        </p:nvSpPr>
        <p:spPr>
          <a:xfrm>
            <a:off x="6019800" y="3962400"/>
            <a:ext cx="4450080" cy="1905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3200" b="1" dirty="0">
                <a:latin typeface="Open Sans bold  "/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Thanksgiving &amp; Christmas 2022 </a:t>
            </a:r>
          </a:p>
          <a:p>
            <a:pPr>
              <a:spcAft>
                <a:spcPts val="1800"/>
              </a:spcAft>
            </a:pPr>
            <a:r>
              <a:rPr lang="en-US" sz="3200" b="1" dirty="0">
                <a:latin typeface="Open Sans bold  "/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Floral Results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B051EB91-0B87-669B-942B-2022FE962EA3}"/>
              </a:ext>
            </a:extLst>
          </p:cNvPr>
          <p:cNvSpPr txBox="1">
            <a:spLocks/>
          </p:cNvSpPr>
          <p:nvPr/>
        </p:nvSpPr>
        <p:spPr>
          <a:xfrm>
            <a:off x="990600" y="4343400"/>
            <a:ext cx="3160776" cy="74066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spc="100" dirty="0">
                <a:ea typeface="Open Sans Light" panose="020B0306030504020204" pitchFamily="34" charset="0"/>
                <a:cs typeface="Open Sans Light" panose="020B0306030504020204" pitchFamily="34" charset="0"/>
              </a:rPr>
              <a:t>March 2023</a:t>
            </a:r>
            <a:endParaRPr lang="en-US" sz="1600" spc="100" dirty="0">
              <a:latin typeface="Avenir Next LT Pro" panose="020B05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DACA2F5-9644-B953-6626-BFBC32485590}"/>
              </a:ext>
            </a:extLst>
          </p:cNvPr>
          <p:cNvSpPr/>
          <p:nvPr/>
        </p:nvSpPr>
        <p:spPr>
          <a:xfrm>
            <a:off x="6019800" y="1143000"/>
            <a:ext cx="4191000" cy="259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person, plant&#10;&#10;Description automatically generated">
            <a:extLst>
              <a:ext uri="{FF2B5EF4-FFF2-40B4-BE49-F238E27FC236}">
                <a16:creationId xmlns:a16="http://schemas.microsoft.com/office/drawing/2014/main" id="{721EF51E-0EE6-360E-3907-CE5F3EB5B6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300" y="1143000"/>
            <a:ext cx="43180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539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2367B17-CE16-143C-351A-B51B0F734E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4C80474-7918-5A52-D59F-774E051174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5172879"/>
              </p:ext>
            </p:extLst>
          </p:nvPr>
        </p:nvGraphicFramePr>
        <p:xfrm>
          <a:off x="1066800" y="2057400"/>
          <a:ext cx="563880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7B238EEF-68F8-B990-6804-9B506719C7E2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2E9ABEE-C698-1CF3-02A1-CB3FA1D1F4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12CC38-4AD3-955B-2161-8DEC0FD451AE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F70E9-BCA5-44B6-ABEA-8FDB79948B4F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Floral kept its price increase over the holida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0B8CD-7A9A-368B-B680-5CDBAD685B5C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Continue to promote the value of floral to maintain and increase price.</a:t>
            </a:r>
          </a:p>
        </p:txBody>
      </p:sp>
    </p:spTree>
    <p:extLst>
      <p:ext uri="{BB962C8B-B14F-4D97-AF65-F5344CB8AC3E}">
        <p14:creationId xmlns:p14="http://schemas.microsoft.com/office/powerpoint/2010/main" val="6985090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72C0F79-F49C-0038-4D55-6A4993857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3660" y="0"/>
            <a:ext cx="4318340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B238EEF-68F8-B990-6804-9B506719C7E2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2E9ABEE-C698-1CF3-02A1-CB3FA1D1F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12CC38-4AD3-955B-2161-8DEC0FD451AE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F70E9-BCA5-44B6-ABEA-8FDB79948B4F}"/>
              </a:ext>
            </a:extLst>
          </p:cNvPr>
          <p:cNvSpPr txBox="1"/>
          <p:nvPr/>
        </p:nvSpPr>
        <p:spPr>
          <a:xfrm>
            <a:off x="685800" y="742146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Floral average dollar &amp; unit sales were lower in 2022 than 202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0B8CD-7A9A-368B-B680-5CDBAD685B5C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, pricing strategies, and promotional messaging to increase dollar and unit sales for Thanksgiving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F2ED629B-6F97-7D91-016D-4C6E37FEEA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8219419"/>
              </p:ext>
            </p:extLst>
          </p:nvPr>
        </p:nvGraphicFramePr>
        <p:xfrm>
          <a:off x="914400" y="1883771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5B7B231-28B2-7D8E-0BF1-7C0EEFE2AA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074612"/>
              </p:ext>
            </p:extLst>
          </p:nvPr>
        </p:nvGraphicFramePr>
        <p:xfrm>
          <a:off x="914400" y="3483971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F6A95EE3-37F3-A3D8-51D1-E97537994B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540571"/>
              </p:ext>
            </p:extLst>
          </p:nvPr>
        </p:nvGraphicFramePr>
        <p:xfrm>
          <a:off x="914400" y="5084171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59048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681775EE-EA1D-FFE1-19A7-5C84FFE70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0"/>
            <a:ext cx="92964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0EDCF8-85AE-8465-B707-7AD2FCD9C68B}"/>
              </a:ext>
            </a:extLst>
          </p:cNvPr>
          <p:cNvSpPr/>
          <p:nvPr/>
        </p:nvSpPr>
        <p:spPr>
          <a:xfrm>
            <a:off x="990600" y="353568"/>
            <a:ext cx="8153400" cy="5334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DB234D7A-894B-AE36-C7A1-0C7261060119}"/>
              </a:ext>
            </a:extLst>
          </p:cNvPr>
          <p:cNvSpPr/>
          <p:nvPr/>
        </p:nvSpPr>
        <p:spPr>
          <a:xfrm>
            <a:off x="914400" y="713851"/>
            <a:ext cx="7918704" cy="149594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56713B-3823-AC8F-C53B-7FBEB559CCE9}"/>
              </a:ext>
            </a:extLst>
          </p:cNvPr>
          <p:cNvSpPr txBox="1"/>
          <p:nvPr/>
        </p:nvSpPr>
        <p:spPr>
          <a:xfrm>
            <a:off x="996696" y="956643"/>
            <a:ext cx="7754112" cy="1438275"/>
          </a:xfrm>
          <a:prstGeom prst="rect">
            <a:avLst/>
          </a:prstGeom>
          <a:noFill/>
        </p:spPr>
        <p:txBody>
          <a:bodyPr wrap="square" lIns="274320" tIns="182880" anchor="t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Supermarket Floral Department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Christmas 2022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(4 w/e 01/01/23) </a:t>
            </a:r>
            <a:endParaRPr lang="en-US" sz="2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7BB635-D725-784E-A5E5-C34E99F07587}"/>
              </a:ext>
            </a:extLst>
          </p:cNvPr>
          <p:cNvSpPr txBox="1"/>
          <p:nvPr/>
        </p:nvSpPr>
        <p:spPr>
          <a:xfrm>
            <a:off x="1219200" y="3505199"/>
            <a:ext cx="6699505" cy="957883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679904-230D-F289-8B36-B3375056DFCD}"/>
              </a:ext>
            </a:extLst>
          </p:cNvPr>
          <p:cNvSpPr txBox="1"/>
          <p:nvPr/>
        </p:nvSpPr>
        <p:spPr>
          <a:xfrm>
            <a:off x="1981200" y="2481417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Dollar sales lower than 20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D42DFD-F68D-7CE3-C818-9F35FA930044}"/>
              </a:ext>
            </a:extLst>
          </p:cNvPr>
          <p:cNvSpPr txBox="1"/>
          <p:nvPr/>
        </p:nvSpPr>
        <p:spPr>
          <a:xfrm>
            <a:off x="1956758" y="3238499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Unit sales lower than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B48B7D-1577-7F32-8C92-111AF959A3B2}"/>
              </a:ext>
            </a:extLst>
          </p:cNvPr>
          <p:cNvSpPr txBox="1"/>
          <p:nvPr/>
        </p:nvSpPr>
        <p:spPr>
          <a:xfrm>
            <a:off x="1948132" y="4126536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Price increases over 2021 in most categories</a:t>
            </a:r>
          </a:p>
        </p:txBody>
      </p:sp>
    </p:spTree>
    <p:extLst>
      <p:ext uri="{BB962C8B-B14F-4D97-AF65-F5344CB8AC3E}">
        <p14:creationId xmlns:p14="http://schemas.microsoft.com/office/powerpoint/2010/main" val="2728718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F4F488F-42B8-20D7-E078-9BCD541893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9704" y="-12540"/>
            <a:ext cx="4312296" cy="68580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6520422-CF14-A301-0F26-75CB699FA256}"/>
              </a:ext>
            </a:extLst>
          </p:cNvPr>
          <p:cNvSpPr/>
          <p:nvPr/>
        </p:nvSpPr>
        <p:spPr>
          <a:xfrm>
            <a:off x="7429500" y="2828476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3BBBC2-59BB-A228-AE61-F6DA66A581E3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6CECE494-3042-573B-2E43-47EBAD84E0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6EF8997-8684-DFD3-EF9F-A6A867BD954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1CDF262-8B70-447A-06D2-FC4B2186ADA6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84ED452-5626-3F62-8902-95BB1BA2F01F}"/>
              </a:ext>
            </a:extLst>
          </p:cNvPr>
          <p:cNvSpPr txBox="1"/>
          <p:nvPr/>
        </p:nvSpPr>
        <p:spPr>
          <a:xfrm>
            <a:off x="762000" y="1068245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b="1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Floral continued to lose ground Christmas 2022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B95858-AF33-E9F4-CFC7-154700B467B4}"/>
              </a:ext>
            </a:extLst>
          </p:cNvPr>
          <p:cNvSpPr txBox="1"/>
          <p:nvPr/>
        </p:nvSpPr>
        <p:spPr>
          <a:xfrm>
            <a:off x="7693503" y="2975032"/>
            <a:ext cx="251459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3B445F"/>
                </a:solidFill>
                <a:effectLst/>
              </a:rPr>
              <a:t>Christmas 2022 suffered from an overall decline in base floral sales with less distribution, shelf space, and velocity</a:t>
            </a:r>
            <a:endParaRPr lang="en-US" sz="2400" b="1" dirty="0">
              <a:highlight>
                <a:srgbClr val="FFFF00"/>
              </a:highlight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7F61638-4900-226C-447E-BEB504B4E1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7394803"/>
              </p:ext>
            </p:extLst>
          </p:nvPr>
        </p:nvGraphicFramePr>
        <p:xfrm>
          <a:off x="1752415" y="1832909"/>
          <a:ext cx="3287657" cy="4656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40CF0C-D5C8-8EC4-F2E7-F11508C13C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3452896"/>
              </p:ext>
            </p:extLst>
          </p:nvPr>
        </p:nvGraphicFramePr>
        <p:xfrm>
          <a:off x="1752415" y="1909109"/>
          <a:ext cx="3088357" cy="542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256">
                  <a:extLst>
                    <a:ext uri="{9D8B030D-6E8A-4147-A177-3AD203B41FA5}">
                      <a16:colId xmlns:a16="http://schemas.microsoft.com/office/drawing/2014/main" val="2865839233"/>
                    </a:ext>
                  </a:extLst>
                </a:gridCol>
                <a:gridCol w="746367">
                  <a:extLst>
                    <a:ext uri="{9D8B030D-6E8A-4147-A177-3AD203B41FA5}">
                      <a16:colId xmlns:a16="http://schemas.microsoft.com/office/drawing/2014/main" val="825578501"/>
                    </a:ext>
                  </a:extLst>
                </a:gridCol>
                <a:gridCol w="746367">
                  <a:extLst>
                    <a:ext uri="{9D8B030D-6E8A-4147-A177-3AD203B41FA5}">
                      <a16:colId xmlns:a16="http://schemas.microsoft.com/office/drawing/2014/main" val="1030271673"/>
                    </a:ext>
                  </a:extLst>
                </a:gridCol>
                <a:gridCol w="746367">
                  <a:extLst>
                    <a:ext uri="{9D8B030D-6E8A-4147-A177-3AD203B41FA5}">
                      <a16:colId xmlns:a16="http://schemas.microsoft.com/office/drawing/2014/main" val="2671449008"/>
                    </a:ext>
                  </a:extLst>
                </a:gridCol>
              </a:tblGrid>
              <a:tr h="271055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Dollar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</a:rPr>
                        <a:t> Sales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451.2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4.9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0478863"/>
                  </a:ext>
                </a:extLst>
              </a:tr>
              <a:tr h="271055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Unit Sales 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42.0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7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6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0766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0609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>
            <a:extLst>
              <a:ext uri="{FF2B5EF4-FFF2-40B4-BE49-F238E27FC236}">
                <a16:creationId xmlns:a16="http://schemas.microsoft.com/office/drawing/2014/main" id="{C7E65F86-E107-E7E0-CD73-6EF458BDB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356" y="11273"/>
            <a:ext cx="4377644" cy="68580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6520422-CF14-A301-0F26-75CB699FA256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3B445F"/>
                </a:solidFill>
              </a:rPr>
              <a:t>Manage base sales by offering your most popular products front and center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3BBBC2-59BB-A228-AE61-F6DA66A581E3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6CECE494-3042-573B-2E43-47EBAD84E0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6EF8997-8684-DFD3-EF9F-A6A867BD954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1CDF262-8B70-447A-06D2-FC4B2186ADA6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84ED452-5626-3F62-8902-95BB1BA2F01F}"/>
              </a:ext>
            </a:extLst>
          </p:cNvPr>
          <p:cNvSpPr txBox="1"/>
          <p:nvPr/>
        </p:nvSpPr>
        <p:spPr>
          <a:xfrm>
            <a:off x="643745" y="877206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94.3% of the Christmas sales came from base sales which declined by 1.6%</a:t>
            </a:r>
          </a:p>
        </p:txBody>
      </p:sp>
      <p:cxnSp>
        <p:nvCxnSpPr>
          <p:cNvPr id="3" name="Elbow Connector 45">
            <a:extLst>
              <a:ext uri="{FF2B5EF4-FFF2-40B4-BE49-F238E27FC236}">
                <a16:creationId xmlns:a16="http://schemas.microsoft.com/office/drawing/2014/main" id="{25B14B95-5CDC-6BAA-09AD-D463B683DCB8}"/>
              </a:ext>
            </a:extLst>
          </p:cNvPr>
          <p:cNvCxnSpPr>
            <a:endCxn id="37" idx="0"/>
          </p:cNvCxnSpPr>
          <p:nvPr/>
        </p:nvCxnSpPr>
        <p:spPr bwMode="gray">
          <a:xfrm rot="16200000" flipH="1">
            <a:off x="1447046" y="4666333"/>
            <a:ext cx="680096" cy="107280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 Same Side Corner Rectangle 4">
            <a:extLst>
              <a:ext uri="{FF2B5EF4-FFF2-40B4-BE49-F238E27FC236}">
                <a16:creationId xmlns:a16="http://schemas.microsoft.com/office/drawing/2014/main" id="{72C1FF35-3B6D-5CD4-41F7-1D21BF72769F}"/>
              </a:ext>
            </a:extLst>
          </p:cNvPr>
          <p:cNvSpPr/>
          <p:nvPr/>
        </p:nvSpPr>
        <p:spPr bwMode="gray">
          <a:xfrm rot="10800000">
            <a:off x="478958" y="4174915"/>
            <a:ext cx="2076061" cy="226607"/>
          </a:xfrm>
          <a:prstGeom prst="round2Same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25" name="Elbow Connector 6">
            <a:extLst>
              <a:ext uri="{FF2B5EF4-FFF2-40B4-BE49-F238E27FC236}">
                <a16:creationId xmlns:a16="http://schemas.microsoft.com/office/drawing/2014/main" id="{EDEA7DFA-1910-1483-62EC-3FB96B1B386B}"/>
              </a:ext>
            </a:extLst>
          </p:cNvPr>
          <p:cNvCxnSpPr>
            <a:endCxn id="38" idx="0"/>
          </p:cNvCxnSpPr>
          <p:nvPr/>
        </p:nvCxnSpPr>
        <p:spPr bwMode="gray">
          <a:xfrm rot="5400000" flipH="1" flipV="1">
            <a:off x="1607536" y="3729651"/>
            <a:ext cx="338725" cy="127676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 Same Side Corner Rectangle 7">
            <a:extLst>
              <a:ext uri="{FF2B5EF4-FFF2-40B4-BE49-F238E27FC236}">
                <a16:creationId xmlns:a16="http://schemas.microsoft.com/office/drawing/2014/main" id="{1D301CE0-0AB8-0BD4-3E1F-FB242D5B1873}"/>
              </a:ext>
            </a:extLst>
          </p:cNvPr>
          <p:cNvSpPr/>
          <p:nvPr/>
        </p:nvSpPr>
        <p:spPr bwMode="gray">
          <a:xfrm rot="10800000">
            <a:off x="1840734" y="4928259"/>
            <a:ext cx="2185248" cy="263524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38" name="Round Same Side Corner Rectangle 12">
            <a:extLst>
              <a:ext uri="{FF2B5EF4-FFF2-40B4-BE49-F238E27FC236}">
                <a16:creationId xmlns:a16="http://schemas.microsoft.com/office/drawing/2014/main" id="{1CE5F519-9724-7BE9-C5BD-5FDA3E7427CB}"/>
              </a:ext>
            </a:extLst>
          </p:cNvPr>
          <p:cNvSpPr/>
          <p:nvPr/>
        </p:nvSpPr>
        <p:spPr bwMode="gray">
          <a:xfrm rot="10800000">
            <a:off x="1840735" y="3492363"/>
            <a:ext cx="2185248" cy="263524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56" name="Round Same Side Corner Rectangle 13">
            <a:extLst>
              <a:ext uri="{FF2B5EF4-FFF2-40B4-BE49-F238E27FC236}">
                <a16:creationId xmlns:a16="http://schemas.microsoft.com/office/drawing/2014/main" id="{49A42644-1A2F-6C89-A266-888D8DE2F557}"/>
              </a:ext>
            </a:extLst>
          </p:cNvPr>
          <p:cNvSpPr/>
          <p:nvPr/>
        </p:nvSpPr>
        <p:spPr bwMode="gray">
          <a:xfrm rot="10800000">
            <a:off x="4288333" y="2761274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57" name="Round Same Side Corner Rectangle 16">
            <a:extLst>
              <a:ext uri="{FF2B5EF4-FFF2-40B4-BE49-F238E27FC236}">
                <a16:creationId xmlns:a16="http://schemas.microsoft.com/office/drawing/2014/main" id="{6C0425D0-7EE7-3F68-673D-2F4BD3617373}"/>
              </a:ext>
            </a:extLst>
          </p:cNvPr>
          <p:cNvSpPr/>
          <p:nvPr/>
        </p:nvSpPr>
        <p:spPr bwMode="gray">
          <a:xfrm rot="10800000">
            <a:off x="4288333" y="3277334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58" name="Round Same Side Corner Rectangle 21">
            <a:extLst>
              <a:ext uri="{FF2B5EF4-FFF2-40B4-BE49-F238E27FC236}">
                <a16:creationId xmlns:a16="http://schemas.microsoft.com/office/drawing/2014/main" id="{64B910E1-F78E-6F4F-0FC4-6CDCDEAC998D}"/>
              </a:ext>
            </a:extLst>
          </p:cNvPr>
          <p:cNvSpPr/>
          <p:nvPr/>
        </p:nvSpPr>
        <p:spPr bwMode="gray">
          <a:xfrm rot="10800000">
            <a:off x="4288334" y="3793393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60" name="Round Same Side Corner Rectangle 24">
            <a:extLst>
              <a:ext uri="{FF2B5EF4-FFF2-40B4-BE49-F238E27FC236}">
                <a16:creationId xmlns:a16="http://schemas.microsoft.com/office/drawing/2014/main" id="{612C4FD4-551A-D542-FD88-CEF255ADBFFE}"/>
              </a:ext>
            </a:extLst>
          </p:cNvPr>
          <p:cNvSpPr/>
          <p:nvPr/>
        </p:nvSpPr>
        <p:spPr bwMode="gray">
          <a:xfrm rot="10800000">
            <a:off x="4288334" y="4379750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61" name="Round Same Side Corner Rectangle 27">
            <a:extLst>
              <a:ext uri="{FF2B5EF4-FFF2-40B4-BE49-F238E27FC236}">
                <a16:creationId xmlns:a16="http://schemas.microsoft.com/office/drawing/2014/main" id="{43DA3B7D-403F-55D7-D4F1-5B447ADB4E7D}"/>
              </a:ext>
            </a:extLst>
          </p:cNvPr>
          <p:cNvSpPr/>
          <p:nvPr/>
        </p:nvSpPr>
        <p:spPr bwMode="gray">
          <a:xfrm rot="10800000">
            <a:off x="4288334" y="4895809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62" name="Round Same Side Corner Rectangle 30">
            <a:extLst>
              <a:ext uri="{FF2B5EF4-FFF2-40B4-BE49-F238E27FC236}">
                <a16:creationId xmlns:a16="http://schemas.microsoft.com/office/drawing/2014/main" id="{CE8219DF-3BCC-1751-CE63-229433C3729C}"/>
              </a:ext>
            </a:extLst>
          </p:cNvPr>
          <p:cNvSpPr/>
          <p:nvPr/>
        </p:nvSpPr>
        <p:spPr bwMode="gray">
          <a:xfrm rot="10800000">
            <a:off x="4288334" y="5411868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63" name="Round Same Side Corner Rectangle 33">
            <a:extLst>
              <a:ext uri="{FF2B5EF4-FFF2-40B4-BE49-F238E27FC236}">
                <a16:creationId xmlns:a16="http://schemas.microsoft.com/office/drawing/2014/main" id="{8CCA0B58-044B-24C0-B554-8EC585070C74}"/>
              </a:ext>
            </a:extLst>
          </p:cNvPr>
          <p:cNvSpPr/>
          <p:nvPr/>
        </p:nvSpPr>
        <p:spPr bwMode="gray">
          <a:xfrm rot="10800000">
            <a:off x="4288334" y="5927925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64" name="Elbow Connector 48">
            <a:extLst>
              <a:ext uri="{FF2B5EF4-FFF2-40B4-BE49-F238E27FC236}">
                <a16:creationId xmlns:a16="http://schemas.microsoft.com/office/drawing/2014/main" id="{04B6D888-24DD-1FAE-ED57-E86A1E1988A6}"/>
              </a:ext>
            </a:extLst>
          </p:cNvPr>
          <p:cNvCxnSpPr>
            <a:stCxn id="38" idx="2"/>
            <a:endCxn id="56" idx="0"/>
          </p:cNvCxnSpPr>
          <p:nvPr/>
        </p:nvCxnSpPr>
        <p:spPr bwMode="gray">
          <a:xfrm flipV="1">
            <a:off x="4025984" y="2874577"/>
            <a:ext cx="262349" cy="74954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49">
            <a:extLst>
              <a:ext uri="{FF2B5EF4-FFF2-40B4-BE49-F238E27FC236}">
                <a16:creationId xmlns:a16="http://schemas.microsoft.com/office/drawing/2014/main" id="{66F000DE-00D4-FFB5-0217-998FB42862AD}"/>
              </a:ext>
            </a:extLst>
          </p:cNvPr>
          <p:cNvCxnSpPr>
            <a:stCxn id="58" idx="0"/>
            <a:endCxn id="38" idx="2"/>
          </p:cNvCxnSpPr>
          <p:nvPr/>
        </p:nvCxnSpPr>
        <p:spPr bwMode="gray">
          <a:xfrm rot="10800000">
            <a:off x="4025985" y="3624125"/>
            <a:ext cx="262351" cy="28257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51">
            <a:extLst>
              <a:ext uri="{FF2B5EF4-FFF2-40B4-BE49-F238E27FC236}">
                <a16:creationId xmlns:a16="http://schemas.microsoft.com/office/drawing/2014/main" id="{7532DACA-CB91-6D66-4065-3095A4E5C137}"/>
              </a:ext>
            </a:extLst>
          </p:cNvPr>
          <p:cNvCxnSpPr>
            <a:stCxn id="37" idx="2"/>
            <a:endCxn id="60" idx="0"/>
          </p:cNvCxnSpPr>
          <p:nvPr/>
        </p:nvCxnSpPr>
        <p:spPr bwMode="gray">
          <a:xfrm flipV="1">
            <a:off x="4025982" y="4493053"/>
            <a:ext cx="262352" cy="5669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52">
            <a:extLst>
              <a:ext uri="{FF2B5EF4-FFF2-40B4-BE49-F238E27FC236}">
                <a16:creationId xmlns:a16="http://schemas.microsoft.com/office/drawing/2014/main" id="{2E7447D3-9DEB-09BB-0B98-BFDB1227273C}"/>
              </a:ext>
            </a:extLst>
          </p:cNvPr>
          <p:cNvCxnSpPr>
            <a:stCxn id="63" idx="0"/>
            <a:endCxn id="37" idx="2"/>
          </p:cNvCxnSpPr>
          <p:nvPr/>
        </p:nvCxnSpPr>
        <p:spPr bwMode="gray">
          <a:xfrm rot="10800000">
            <a:off x="4025982" y="5060021"/>
            <a:ext cx="262352" cy="98120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53">
            <a:extLst>
              <a:ext uri="{FF2B5EF4-FFF2-40B4-BE49-F238E27FC236}">
                <a16:creationId xmlns:a16="http://schemas.microsoft.com/office/drawing/2014/main" id="{FF1D4DEE-A2FE-CD50-320A-9932CF7DBDED}"/>
              </a:ext>
            </a:extLst>
          </p:cNvPr>
          <p:cNvCxnSpPr>
            <a:stCxn id="37" idx="2"/>
            <a:endCxn id="61" idx="0"/>
          </p:cNvCxnSpPr>
          <p:nvPr/>
        </p:nvCxnSpPr>
        <p:spPr>
          <a:xfrm flipV="1">
            <a:off x="4025982" y="5009111"/>
            <a:ext cx="262352" cy="5091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54">
            <a:extLst>
              <a:ext uri="{FF2B5EF4-FFF2-40B4-BE49-F238E27FC236}">
                <a16:creationId xmlns:a16="http://schemas.microsoft.com/office/drawing/2014/main" id="{FF1CCABB-2746-C661-FF18-A2992C81D5C9}"/>
              </a:ext>
            </a:extLst>
          </p:cNvPr>
          <p:cNvCxnSpPr>
            <a:stCxn id="37" idx="2"/>
            <a:endCxn id="62" idx="0"/>
          </p:cNvCxnSpPr>
          <p:nvPr/>
        </p:nvCxnSpPr>
        <p:spPr>
          <a:xfrm>
            <a:off x="4025982" y="5060022"/>
            <a:ext cx="262352" cy="46514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74">
            <a:extLst>
              <a:ext uri="{FF2B5EF4-FFF2-40B4-BE49-F238E27FC236}">
                <a16:creationId xmlns:a16="http://schemas.microsoft.com/office/drawing/2014/main" id="{B079036F-811F-7F7B-0B14-4FA5BAC80430}"/>
              </a:ext>
            </a:extLst>
          </p:cNvPr>
          <p:cNvCxnSpPr>
            <a:stCxn id="38" idx="2"/>
            <a:endCxn id="71" idx="0"/>
          </p:cNvCxnSpPr>
          <p:nvPr/>
        </p:nvCxnSpPr>
        <p:spPr bwMode="gray">
          <a:xfrm flipV="1">
            <a:off x="4025984" y="2358517"/>
            <a:ext cx="262349" cy="1265608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ound Same Side Corner Rectangle 75">
            <a:extLst>
              <a:ext uri="{FF2B5EF4-FFF2-40B4-BE49-F238E27FC236}">
                <a16:creationId xmlns:a16="http://schemas.microsoft.com/office/drawing/2014/main" id="{B75A6B89-B8E2-D5BF-E694-D957564C7429}"/>
              </a:ext>
            </a:extLst>
          </p:cNvPr>
          <p:cNvSpPr/>
          <p:nvPr/>
        </p:nvSpPr>
        <p:spPr bwMode="gray">
          <a:xfrm rot="10800000">
            <a:off x="4288333" y="2245215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72" name="Elbow Connector 80">
            <a:extLst>
              <a:ext uri="{FF2B5EF4-FFF2-40B4-BE49-F238E27FC236}">
                <a16:creationId xmlns:a16="http://schemas.microsoft.com/office/drawing/2014/main" id="{62B89F88-BF9C-704F-68A4-9455E5869184}"/>
              </a:ext>
            </a:extLst>
          </p:cNvPr>
          <p:cNvCxnSpPr>
            <a:stCxn id="57" idx="0"/>
            <a:endCxn id="38" idx="2"/>
          </p:cNvCxnSpPr>
          <p:nvPr/>
        </p:nvCxnSpPr>
        <p:spPr bwMode="gray">
          <a:xfrm rot="10800000" flipV="1">
            <a:off x="4025984" y="3390636"/>
            <a:ext cx="262349" cy="23348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 Same Side Corner Rectangle 3">
            <a:extLst>
              <a:ext uri="{FF2B5EF4-FFF2-40B4-BE49-F238E27FC236}">
                <a16:creationId xmlns:a16="http://schemas.microsoft.com/office/drawing/2014/main" id="{4759BA08-C516-47E0-81E4-541701F77B4A}"/>
              </a:ext>
            </a:extLst>
          </p:cNvPr>
          <p:cNvSpPr/>
          <p:nvPr/>
        </p:nvSpPr>
        <p:spPr bwMode="gray">
          <a:xfrm>
            <a:off x="478958" y="3955760"/>
            <a:ext cx="2076061" cy="219154"/>
          </a:xfrm>
          <a:prstGeom prst="round2Same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llar Sales</a:t>
            </a:r>
          </a:p>
        </p:txBody>
      </p:sp>
      <p:sp>
        <p:nvSpPr>
          <p:cNvPr id="74" name="Round Same Side Corner Rectangle 8">
            <a:extLst>
              <a:ext uri="{FF2B5EF4-FFF2-40B4-BE49-F238E27FC236}">
                <a16:creationId xmlns:a16="http://schemas.microsoft.com/office/drawing/2014/main" id="{750F2883-AD3D-47E7-328A-3239BAC8C9E4}"/>
              </a:ext>
            </a:extLst>
          </p:cNvPr>
          <p:cNvSpPr/>
          <p:nvPr/>
        </p:nvSpPr>
        <p:spPr bwMode="gray">
          <a:xfrm>
            <a:off x="1840734" y="4709106"/>
            <a:ext cx="2185248" cy="254857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se Sales</a:t>
            </a:r>
          </a:p>
        </p:txBody>
      </p:sp>
      <p:sp>
        <p:nvSpPr>
          <p:cNvPr id="75" name="Round Same Side Corner Rectangle 10">
            <a:extLst>
              <a:ext uri="{FF2B5EF4-FFF2-40B4-BE49-F238E27FC236}">
                <a16:creationId xmlns:a16="http://schemas.microsoft.com/office/drawing/2014/main" id="{C9ECA0D9-168A-84E8-1D8A-15F9A127E19A}"/>
              </a:ext>
            </a:extLst>
          </p:cNvPr>
          <p:cNvSpPr/>
          <p:nvPr/>
        </p:nvSpPr>
        <p:spPr bwMode="gray">
          <a:xfrm>
            <a:off x="1840733" y="3273623"/>
            <a:ext cx="2185248" cy="254857"/>
          </a:xfrm>
          <a:prstGeom prst="round2SameRect">
            <a:avLst/>
          </a:prstGeom>
          <a:solidFill>
            <a:schemeClr val="accent6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cremental Sales</a:t>
            </a:r>
          </a:p>
        </p:txBody>
      </p:sp>
      <p:sp>
        <p:nvSpPr>
          <p:cNvPr id="76" name="Round Same Side Corner Rectangle 14">
            <a:extLst>
              <a:ext uri="{FF2B5EF4-FFF2-40B4-BE49-F238E27FC236}">
                <a16:creationId xmlns:a16="http://schemas.microsoft.com/office/drawing/2014/main" id="{51D6661D-74D8-C985-12A9-FF8F29B7D17D}"/>
              </a:ext>
            </a:extLst>
          </p:cNvPr>
          <p:cNvSpPr/>
          <p:nvPr/>
        </p:nvSpPr>
        <p:spPr bwMode="gray">
          <a:xfrm>
            <a:off x="4288333" y="2542119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eeks of Support</a:t>
            </a:r>
          </a:p>
        </p:txBody>
      </p:sp>
      <p:sp>
        <p:nvSpPr>
          <p:cNvPr id="77" name="Round Same Side Corner Rectangle 17">
            <a:extLst>
              <a:ext uri="{FF2B5EF4-FFF2-40B4-BE49-F238E27FC236}">
                <a16:creationId xmlns:a16="http://schemas.microsoft.com/office/drawing/2014/main" id="{CBFE5A63-DC58-3397-BA8C-1B91E94EF2B9}"/>
              </a:ext>
            </a:extLst>
          </p:cNvPr>
          <p:cNvSpPr/>
          <p:nvPr/>
        </p:nvSpPr>
        <p:spPr bwMode="gray">
          <a:xfrm>
            <a:off x="4288333" y="3058178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% Dollars, Any Merch</a:t>
            </a:r>
          </a:p>
        </p:txBody>
      </p:sp>
      <p:sp>
        <p:nvSpPr>
          <p:cNvPr id="78" name="Round Same Side Corner Rectangle 22">
            <a:extLst>
              <a:ext uri="{FF2B5EF4-FFF2-40B4-BE49-F238E27FC236}">
                <a16:creationId xmlns:a16="http://schemas.microsoft.com/office/drawing/2014/main" id="{CABE487A-FE5F-BAFD-47A3-ABE6CA0586C9}"/>
              </a:ext>
            </a:extLst>
          </p:cNvPr>
          <p:cNvSpPr/>
          <p:nvPr/>
        </p:nvSpPr>
        <p:spPr bwMode="gray">
          <a:xfrm>
            <a:off x="4288333" y="3574237"/>
            <a:ext cx="2076061" cy="224735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mo Price/Unit</a:t>
            </a:r>
          </a:p>
        </p:txBody>
      </p:sp>
      <p:sp>
        <p:nvSpPr>
          <p:cNvPr id="79" name="Round Same Side Corner Rectangle 25">
            <a:extLst>
              <a:ext uri="{FF2B5EF4-FFF2-40B4-BE49-F238E27FC236}">
                <a16:creationId xmlns:a16="http://schemas.microsoft.com/office/drawing/2014/main" id="{329CE7B0-5380-3D7B-2D9B-3A9F0BDFF438}"/>
              </a:ext>
            </a:extLst>
          </p:cNvPr>
          <p:cNvSpPr/>
          <p:nvPr/>
        </p:nvSpPr>
        <p:spPr bwMode="gray">
          <a:xfrm>
            <a:off x="4288333" y="4160595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POD</a:t>
            </a:r>
          </a:p>
        </p:txBody>
      </p:sp>
      <p:sp>
        <p:nvSpPr>
          <p:cNvPr id="80" name="Round Same Side Corner Rectangle 28">
            <a:extLst>
              <a:ext uri="{FF2B5EF4-FFF2-40B4-BE49-F238E27FC236}">
                <a16:creationId xmlns:a16="http://schemas.microsoft.com/office/drawing/2014/main" id="{3A334DF3-8132-F9A9-1A9E-C549FD244279}"/>
              </a:ext>
            </a:extLst>
          </p:cNvPr>
          <p:cNvSpPr/>
          <p:nvPr/>
        </p:nvSpPr>
        <p:spPr bwMode="gray">
          <a:xfrm>
            <a:off x="4288333" y="4676654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eekly Items/Store</a:t>
            </a:r>
          </a:p>
        </p:txBody>
      </p:sp>
      <p:sp>
        <p:nvSpPr>
          <p:cNvPr id="81" name="Round Same Side Corner Rectangle 31">
            <a:extLst>
              <a:ext uri="{FF2B5EF4-FFF2-40B4-BE49-F238E27FC236}">
                <a16:creationId xmlns:a16="http://schemas.microsoft.com/office/drawing/2014/main" id="{233391C7-8A11-9051-8705-D7861FF139F3}"/>
              </a:ext>
            </a:extLst>
          </p:cNvPr>
          <p:cNvSpPr/>
          <p:nvPr/>
        </p:nvSpPr>
        <p:spPr bwMode="gray">
          <a:xfrm>
            <a:off x="4288333" y="5192713"/>
            <a:ext cx="2076061" cy="224736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se Price/Unit</a:t>
            </a:r>
          </a:p>
        </p:txBody>
      </p:sp>
      <p:sp>
        <p:nvSpPr>
          <p:cNvPr id="82" name="Round Same Side Corner Rectangle 34">
            <a:extLst>
              <a:ext uri="{FF2B5EF4-FFF2-40B4-BE49-F238E27FC236}">
                <a16:creationId xmlns:a16="http://schemas.microsoft.com/office/drawing/2014/main" id="{BA2151AD-0A48-4D92-9E11-657F6F95E2DD}"/>
              </a:ext>
            </a:extLst>
          </p:cNvPr>
          <p:cNvSpPr/>
          <p:nvPr/>
        </p:nvSpPr>
        <p:spPr bwMode="gray">
          <a:xfrm>
            <a:off x="4288333" y="5708770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vg. Wkly Base $/$MM ACV</a:t>
            </a:r>
          </a:p>
        </p:txBody>
      </p:sp>
      <p:sp>
        <p:nvSpPr>
          <p:cNvPr id="83" name="Round Same Side Corner Rectangle 76">
            <a:extLst>
              <a:ext uri="{FF2B5EF4-FFF2-40B4-BE49-F238E27FC236}">
                <a16:creationId xmlns:a16="http://schemas.microsoft.com/office/drawing/2014/main" id="{07567F9A-7FF7-3DB9-F011-822556222D65}"/>
              </a:ext>
            </a:extLst>
          </p:cNvPr>
          <p:cNvSpPr/>
          <p:nvPr/>
        </p:nvSpPr>
        <p:spPr bwMode="gray">
          <a:xfrm>
            <a:off x="4288333" y="2026060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$ Trade Efficiency</a:t>
            </a:r>
          </a:p>
        </p:txBody>
      </p:sp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52E6CB1D-EA77-3AD4-8EDF-6D9038931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210231"/>
              </p:ext>
            </p:extLst>
          </p:nvPr>
        </p:nvGraphicFramePr>
        <p:xfrm>
          <a:off x="457200" y="4117856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451.2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4.9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85" name="Table 84">
            <a:extLst>
              <a:ext uri="{FF2B5EF4-FFF2-40B4-BE49-F238E27FC236}">
                <a16:creationId xmlns:a16="http://schemas.microsoft.com/office/drawing/2014/main" id="{8F20479D-5CAF-450D-B77C-F68B794622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839820"/>
              </p:ext>
            </p:extLst>
          </p:nvPr>
        </p:nvGraphicFramePr>
        <p:xfrm>
          <a:off x="1904822" y="3456558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25.9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9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$2.2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86" name="Table 85">
            <a:extLst>
              <a:ext uri="{FF2B5EF4-FFF2-40B4-BE49-F238E27FC236}">
                <a16:creationId xmlns:a16="http://schemas.microsoft.com/office/drawing/2014/main" id="{BABD9A91-F8C2-47BE-283E-A3EDDD306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5391936"/>
              </p:ext>
            </p:extLst>
          </p:nvPr>
        </p:nvGraphicFramePr>
        <p:xfrm>
          <a:off x="1904822" y="4902271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425.4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7.0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87" name="Table 86">
            <a:extLst>
              <a:ext uri="{FF2B5EF4-FFF2-40B4-BE49-F238E27FC236}">
                <a16:creationId xmlns:a16="http://schemas.microsoft.com/office/drawing/2014/main" id="{410FAB86-1604-3EF5-E36A-5E9C3D86D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818879"/>
              </p:ext>
            </p:extLst>
          </p:nvPr>
        </p:nvGraphicFramePr>
        <p:xfrm>
          <a:off x="4641964" y="2178218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2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7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88" name="Table 87">
            <a:extLst>
              <a:ext uri="{FF2B5EF4-FFF2-40B4-BE49-F238E27FC236}">
                <a16:creationId xmlns:a16="http://schemas.microsoft.com/office/drawing/2014/main" id="{B72EBEC0-D1B7-BF99-09C6-8F9BD37D4A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10970"/>
              </p:ext>
            </p:extLst>
          </p:nvPr>
        </p:nvGraphicFramePr>
        <p:xfrm>
          <a:off x="4641964" y="2682311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0wk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89" name="Table 88">
            <a:extLst>
              <a:ext uri="{FF2B5EF4-FFF2-40B4-BE49-F238E27FC236}">
                <a16:creationId xmlns:a16="http://schemas.microsoft.com/office/drawing/2014/main" id="{42530BC4-974D-3B4A-8EED-2517A0A0BF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2966714"/>
              </p:ext>
            </p:extLst>
          </p:nvPr>
        </p:nvGraphicFramePr>
        <p:xfrm>
          <a:off x="4641964" y="3227481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2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4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90" name="Table 89">
            <a:extLst>
              <a:ext uri="{FF2B5EF4-FFF2-40B4-BE49-F238E27FC236}">
                <a16:creationId xmlns:a16="http://schemas.microsoft.com/office/drawing/2014/main" id="{DD3A808A-AA4B-69F2-15E4-6BCBB1737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611821"/>
              </p:ext>
            </p:extLst>
          </p:nvPr>
        </p:nvGraphicFramePr>
        <p:xfrm>
          <a:off x="4641964" y="3728278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9.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B71F7537-3C5F-2166-8DE5-A846C4020B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879838"/>
              </p:ext>
            </p:extLst>
          </p:nvPr>
        </p:nvGraphicFramePr>
        <p:xfrm>
          <a:off x="4641964" y="4325118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8,5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12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92" name="Table 91">
            <a:extLst>
              <a:ext uri="{FF2B5EF4-FFF2-40B4-BE49-F238E27FC236}">
                <a16:creationId xmlns:a16="http://schemas.microsoft.com/office/drawing/2014/main" id="{2FE0D531-2FEF-A455-B556-1DB7BA017F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000966"/>
              </p:ext>
            </p:extLst>
          </p:nvPr>
        </p:nvGraphicFramePr>
        <p:xfrm>
          <a:off x="4641964" y="4841318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5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5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93" name="Table 92">
            <a:extLst>
              <a:ext uri="{FF2B5EF4-FFF2-40B4-BE49-F238E27FC236}">
                <a16:creationId xmlns:a16="http://schemas.microsoft.com/office/drawing/2014/main" id="{01349A97-9811-CEEB-4F82-B483826894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020486"/>
              </p:ext>
            </p:extLst>
          </p:nvPr>
        </p:nvGraphicFramePr>
        <p:xfrm>
          <a:off x="4641964" y="5359439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11.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BD79CBD5-43FD-92AE-B84D-791B375C2B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243086"/>
              </p:ext>
            </p:extLst>
          </p:nvPr>
        </p:nvGraphicFramePr>
        <p:xfrm>
          <a:off x="4641964" y="5877560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7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9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3492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21D0FC-763B-F34C-5388-BC021DF4A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6808" y="-18473"/>
            <a:ext cx="4255098" cy="68764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580C2EF-430A-ACC7-7EA5-DD4929597673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Lean on holiday decor to maintain and grow sales in potted plants at Christmas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D310433-6DE7-4ACC-BCC7-1A63FD549F89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EEA6F88-03E7-B355-24CA-DD8A19BAF4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773DF54-D744-56C5-58FA-CDCC8D19EA2A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3B8FCB-5E80-0D7B-523B-287E51BDBD34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65D66C-E660-FD0B-A16D-0F5DCD76C083}"/>
              </a:ext>
            </a:extLst>
          </p:cNvPr>
          <p:cNvSpPr txBox="1"/>
          <p:nvPr/>
        </p:nvSpPr>
        <p:spPr>
          <a:xfrm>
            <a:off x="762000" y="880954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b="1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Potted plants while still 1st in dollar sales suffered large dollar &amp; volume declines compared to 2021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A5E5B00-DE33-2F95-574D-46B201680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3430827"/>
              </p:ext>
            </p:extLst>
          </p:nvPr>
        </p:nvGraphicFramePr>
        <p:xfrm>
          <a:off x="330406" y="2057400"/>
          <a:ext cx="6736075" cy="4216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125">
                  <a:extLst>
                    <a:ext uri="{9D8B030D-6E8A-4147-A177-3AD203B41FA5}">
                      <a16:colId xmlns:a16="http://schemas.microsoft.com/office/drawing/2014/main" val="2534025249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3899136423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521059334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41780125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779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678419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Dollar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Sales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 (MM)</a:t>
                      </a:r>
                    </a:p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Unit Sales</a:t>
                      </a:r>
                    </a:p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(MM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Avg. </a:t>
                      </a:r>
                      <a:r>
                        <a:rPr lang="en-US" sz="1000" b="1" baseline="0" dirty="0" err="1">
                          <a:solidFill>
                            <a:schemeClr val="bg1"/>
                          </a:solidFill>
                          <a:latin typeface="+mn-lt"/>
                        </a:rPr>
                        <a:t>wkly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$MM ACV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Chg vs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YA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Price/ Un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Dollar, Any Mer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575465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Potted Pla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8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1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2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9.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6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76307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Ro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3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2.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381613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Bouqu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6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2.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3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40762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Arran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28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41304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Consumer B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8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6.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9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384225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Holi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5.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4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48229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Outdoor 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8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9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8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7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Bul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9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5.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36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4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latin typeface="+mn-lt"/>
                        </a:rPr>
                        <a:t>Se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4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3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650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592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46016D3-00D3-4FC9-BEDB-03D5E0A0A0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3819" y="0"/>
            <a:ext cx="4273559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483525C-12ED-B752-AF64-1BD71E031B9E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Offering arrangements at various price points allows consumers to find room in their budget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16FEE8A-9DD1-DCA4-9E0F-91472B1B0A68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757CB70-0172-295C-9C49-8E4644BD7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3D410EA-E87B-3BDD-0FAB-4F4008B4C3CD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3E4ACC-76D5-4D26-5C47-2DB1B13E065A}"/>
              </a:ext>
            </a:extLst>
          </p:cNvPr>
          <p:cNvSpPr txBox="1"/>
          <p:nvPr/>
        </p:nvSpPr>
        <p:spPr>
          <a:xfrm>
            <a:off x="685800" y="969911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Arrangements declined in dollar sales as consumers pulled back in spending</a:t>
            </a:r>
          </a:p>
        </p:txBody>
      </p:sp>
      <p:sp>
        <p:nvSpPr>
          <p:cNvPr id="2" name="Notched Right Arrow 31">
            <a:extLst>
              <a:ext uri="{FF2B5EF4-FFF2-40B4-BE49-F238E27FC236}">
                <a16:creationId xmlns:a16="http://schemas.microsoft.com/office/drawing/2014/main" id="{F68B535C-F1DA-9E8C-E6A8-C132E35EC0D4}"/>
              </a:ext>
            </a:extLst>
          </p:cNvPr>
          <p:cNvSpPr/>
          <p:nvPr/>
        </p:nvSpPr>
        <p:spPr>
          <a:xfrm rot="5400000" flipV="1">
            <a:off x="40291" y="3654944"/>
            <a:ext cx="4399975" cy="1005840"/>
          </a:xfrm>
          <a:prstGeom prst="notchedRightArrow">
            <a:avLst>
              <a:gd name="adj1" fmla="val 50000"/>
              <a:gd name="adj2" fmla="val 3393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Verdana"/>
              <a:cs typeface="Verdana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9470EA4-36B5-412C-60CB-C9206540B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2376488"/>
              </p:ext>
            </p:extLst>
          </p:nvPr>
        </p:nvGraphicFramePr>
        <p:xfrm>
          <a:off x="1143000" y="2082094"/>
          <a:ext cx="5312664" cy="2286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500824737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1567692501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498988512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100698778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379245186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302604106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 YA</a:t>
                      </a: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$MM)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effectLst/>
                        <a:latin typeface="+mj-lt"/>
                      </a:endParaRPr>
                    </a:p>
                    <a:p>
                      <a:pPr algn="ctr" fontAlgn="b"/>
                      <a:r>
                        <a:rPr lang="en-US" sz="800" b="1" i="0" u="none" strike="noStrike" dirty="0">
                          <a:effectLst/>
                          <a:latin typeface="+mj-lt"/>
                        </a:rPr>
                        <a:t>Dol</a:t>
                      </a:r>
                      <a:r>
                        <a:rPr lang="en-US" sz="800" b="1" i="0" u="none" strike="noStrike" baseline="0" dirty="0">
                          <a:effectLst/>
                          <a:latin typeface="+mj-lt"/>
                        </a:rPr>
                        <a:t> Sales</a:t>
                      </a:r>
                    </a:p>
                    <a:p>
                      <a:pPr algn="ctr" fontAlgn="b"/>
                      <a:r>
                        <a:rPr lang="en-US" sz="800" b="1" i="0" u="none" strike="noStrike" baseline="0" dirty="0">
                          <a:effectLst/>
                          <a:latin typeface="+mj-lt"/>
                        </a:rPr>
                        <a:t>($MM)</a:t>
                      </a:r>
                      <a:endParaRPr lang="en-US" sz="8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POD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t.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Base Price/ Unit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mo Price 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YA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Holiday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0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6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66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9.2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2.8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8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23565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Arrangeme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1.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65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598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9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31.8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0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27.8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7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Seed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1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3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4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84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62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4.0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7.7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9.8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8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9115977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Potted Pla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10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13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8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,907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84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0.3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7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7.6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2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2737894"/>
                  </a:ext>
                </a:extLst>
              </a:tr>
            </a:tbl>
          </a:graphicData>
        </a:graphic>
      </p:graphicFrame>
      <p:sp>
        <p:nvSpPr>
          <p:cNvPr id="7" name="NumberBall">
            <a:extLst>
              <a:ext uri="{FF2B5EF4-FFF2-40B4-BE49-F238E27FC236}">
                <a16:creationId xmlns:a16="http://schemas.microsoft.com/office/drawing/2014/main" id="{0B635125-97DA-7185-4E07-3D387A126C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200" y="2828854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1</a:t>
            </a:r>
          </a:p>
        </p:txBody>
      </p:sp>
      <p:sp>
        <p:nvSpPr>
          <p:cNvPr id="8" name="NumberBall">
            <a:extLst>
              <a:ext uri="{FF2B5EF4-FFF2-40B4-BE49-F238E27FC236}">
                <a16:creationId xmlns:a16="http://schemas.microsoft.com/office/drawing/2014/main" id="{6775EFD1-671E-5583-5FF4-A2DCB1FDA6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200" y="3209854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2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  <p:sp>
        <p:nvSpPr>
          <p:cNvPr id="9" name="NumberBall">
            <a:extLst>
              <a:ext uri="{FF2B5EF4-FFF2-40B4-BE49-F238E27FC236}">
                <a16:creationId xmlns:a16="http://schemas.microsoft.com/office/drawing/2014/main" id="{8BA1A41F-8763-3C2B-D3A4-9659FA7713B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7299" y="3590854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3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  <p:sp>
        <p:nvSpPr>
          <p:cNvPr id="10" name="NumberBall">
            <a:extLst>
              <a:ext uri="{FF2B5EF4-FFF2-40B4-BE49-F238E27FC236}">
                <a16:creationId xmlns:a16="http://schemas.microsoft.com/office/drawing/2014/main" id="{27988900-DDC5-895F-1C36-40750C5303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200" y="4067104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4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1541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AFF7317-B73A-89A1-C203-9EC24714B7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7592" y="-1"/>
            <a:ext cx="4266014" cy="688109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483525C-12ED-B752-AF64-1BD71E031B9E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As roses continue in popularity, highlight this product in unique bouquets and arrangements to advance those sales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16FEE8A-9DD1-DCA4-9E0F-91472B1B0A68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757CB70-0172-295C-9C49-8E4644BD7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3D410EA-E87B-3BDD-0FAB-4F4008B4C3CD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3E4ACC-76D5-4D26-5C47-2DB1B13E065A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Rose increased in dolla</a:t>
            </a:r>
            <a:r>
              <a:rPr lang="en-US" sz="2800" b="1" dirty="0"/>
              <a:t>r and volume sales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4" name="Notched Right Arrow 102">
            <a:extLst>
              <a:ext uri="{FF2B5EF4-FFF2-40B4-BE49-F238E27FC236}">
                <a16:creationId xmlns:a16="http://schemas.microsoft.com/office/drawing/2014/main" id="{B95D3089-1933-C773-BC3C-CA024948D257}"/>
              </a:ext>
            </a:extLst>
          </p:cNvPr>
          <p:cNvSpPr/>
          <p:nvPr/>
        </p:nvSpPr>
        <p:spPr>
          <a:xfrm rot="16200000">
            <a:off x="-401667" y="3654944"/>
            <a:ext cx="4399975" cy="1005840"/>
          </a:xfrm>
          <a:prstGeom prst="notchedRightArrow">
            <a:avLst>
              <a:gd name="adj1" fmla="val 50000"/>
              <a:gd name="adj2" fmla="val 33931"/>
            </a:avLst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Verdana"/>
              <a:cs typeface="Verdana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A119423-745B-6A35-D1AB-323C7B9AB1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79769"/>
              </p:ext>
            </p:extLst>
          </p:nvPr>
        </p:nvGraphicFramePr>
        <p:xfrm>
          <a:off x="685800" y="2082094"/>
          <a:ext cx="5367866" cy="2697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7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1335018197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2432539170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872743414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3692828676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2390252413"/>
                    </a:ext>
                  </a:extLst>
                </a:gridCol>
                <a:gridCol w="498965">
                  <a:extLst>
                    <a:ext uri="{9D8B030D-6E8A-4147-A177-3AD203B41FA5}">
                      <a16:colId xmlns:a16="http://schemas.microsoft.com/office/drawing/2014/main" val="3376165298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 YA</a:t>
                      </a: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$MM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en-US" sz="800" b="1" i="0" u="none" strike="noStrike" dirty="0">
                          <a:effectLst/>
                          <a:latin typeface="+mn-lt"/>
                        </a:rPr>
                        <a:t>Dol</a:t>
                      </a:r>
                      <a:r>
                        <a:rPr lang="en-US" sz="800" b="1" i="0" u="none" strike="noStrike" baseline="0" dirty="0">
                          <a:effectLst/>
                          <a:latin typeface="+mn-lt"/>
                        </a:rPr>
                        <a:t> Sales</a:t>
                      </a:r>
                    </a:p>
                    <a:p>
                      <a:pPr algn="ctr" fontAlgn="b"/>
                      <a:r>
                        <a:rPr lang="en-US" sz="800" b="1" i="0" u="none" strike="noStrike" baseline="0" dirty="0">
                          <a:effectLst/>
                          <a:latin typeface="+mn-lt"/>
                        </a:rPr>
                        <a:t>($MM)</a:t>
                      </a:r>
                      <a:endParaRPr lang="en-US" sz="8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POD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t.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se Price/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 Pri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A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Rose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4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83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1,015.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7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3.3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1.3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4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Bouque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1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83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0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1,207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8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3.3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0.4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4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Consumer Bunch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1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53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1,354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41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6.5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8.5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5.2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2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Outdoor Pla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1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6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8.3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394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6.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9.9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2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9.6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.1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548097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Bulb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0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4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9.0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372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6.6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1.9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4.8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2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344489"/>
                  </a:ext>
                </a:extLst>
              </a:tr>
            </a:tbl>
          </a:graphicData>
        </a:graphic>
      </p:graphicFrame>
      <p:sp>
        <p:nvSpPr>
          <p:cNvPr id="9" name="NumberBall">
            <a:extLst>
              <a:ext uri="{FF2B5EF4-FFF2-40B4-BE49-F238E27FC236}">
                <a16:creationId xmlns:a16="http://schemas.microsoft.com/office/drawing/2014/main" id="{8478849D-690B-6B35-8CBE-22775571E5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4515" y="2828854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1</a:t>
            </a:r>
          </a:p>
        </p:txBody>
      </p:sp>
      <p:sp>
        <p:nvSpPr>
          <p:cNvPr id="10" name="NumberBall">
            <a:extLst>
              <a:ext uri="{FF2B5EF4-FFF2-40B4-BE49-F238E27FC236}">
                <a16:creationId xmlns:a16="http://schemas.microsoft.com/office/drawing/2014/main" id="{820B32A3-4E38-4C0E-7FEE-40B034A1AE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4515" y="3240334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2</a:t>
            </a:r>
          </a:p>
        </p:txBody>
      </p:sp>
      <p:sp>
        <p:nvSpPr>
          <p:cNvPr id="11" name="NumberBall">
            <a:extLst>
              <a:ext uri="{FF2B5EF4-FFF2-40B4-BE49-F238E27FC236}">
                <a16:creationId xmlns:a16="http://schemas.microsoft.com/office/drawing/2014/main" id="{FA482259-50EB-6B00-15CF-BB30657032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1000" y="3651814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3</a:t>
            </a:r>
          </a:p>
        </p:txBody>
      </p:sp>
      <p:sp>
        <p:nvSpPr>
          <p:cNvPr id="12" name="NumberBall">
            <a:extLst>
              <a:ext uri="{FF2B5EF4-FFF2-40B4-BE49-F238E27FC236}">
                <a16:creationId xmlns:a16="http://schemas.microsoft.com/office/drawing/2014/main" id="{D93D7D64-9C77-9852-0025-86CA4D6D5B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1000" y="4048054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4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  <p:sp>
        <p:nvSpPr>
          <p:cNvPr id="13" name="NumberBall">
            <a:extLst>
              <a:ext uri="{FF2B5EF4-FFF2-40B4-BE49-F238E27FC236}">
                <a16:creationId xmlns:a16="http://schemas.microsoft.com/office/drawing/2014/main" id="{CDDC1F1E-2955-7874-D0C3-91FBC7D9A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1000" y="4459534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5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145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08AAC4-3E73-2826-02D5-1209345BFC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3074" y="1834"/>
            <a:ext cx="4372550" cy="68580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FA740B5-60DC-A2AF-93C1-2B16BCBC97E5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E8C805-A880-FE1E-A6E8-492A226727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AAE686B-C3F7-6123-CBBF-B819C22C2BB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82B1F2-0E44-5981-CCFC-5A79595F5C30}"/>
              </a:ext>
            </a:extLst>
          </p:cNvPr>
          <p:cNvSpPr txBox="1"/>
          <p:nvPr/>
        </p:nvSpPr>
        <p:spPr>
          <a:xfrm>
            <a:off x="685800" y="969911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Dollar sales increased the week prior to Christmas over 2021 and 2020 after lagging for several wee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34C037-6D0E-C72E-4532-2F142FF241BB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 to keep continue growing dollar sales.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CB41C42-64FD-0A0B-5D15-3FF369F6A3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0901514"/>
              </p:ext>
            </p:extLst>
          </p:nvPr>
        </p:nvGraphicFramePr>
        <p:xfrm>
          <a:off x="338091" y="2210514"/>
          <a:ext cx="6553200" cy="3654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074714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279A1F2-3FC9-E1AF-A8C9-E301862A16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7124" y="0"/>
            <a:ext cx="4354876" cy="68580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D24FE3-8C02-AAAD-70D9-97FF5D9F7AAE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965E8E1-62C6-F9C8-971C-79555453C1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2486B5-4D98-B477-6428-01677F6C921F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F81AC9-9EE5-82F6-F36C-60681836F6D2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Unit sales dropped to 2020 level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5357FD-7D80-4A39-1A4D-92847F077A61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 and discounts to grow unit sales.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1EDD68D-D104-24D2-38DE-BD5D52ECBF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9818328"/>
              </p:ext>
            </p:extLst>
          </p:nvPr>
        </p:nvGraphicFramePr>
        <p:xfrm>
          <a:off x="554115" y="2183726"/>
          <a:ext cx="5562600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1383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6A6495A-0304-22D3-BFB4-A18363060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6782" y="0"/>
            <a:ext cx="9475218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0EDCF8-85AE-8465-B707-7AD2FCD9C68B}"/>
              </a:ext>
            </a:extLst>
          </p:cNvPr>
          <p:cNvSpPr/>
          <p:nvPr/>
        </p:nvSpPr>
        <p:spPr>
          <a:xfrm>
            <a:off x="990600" y="353568"/>
            <a:ext cx="8153400" cy="5334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DB234D7A-894B-AE36-C7A1-0C7261060119}"/>
              </a:ext>
            </a:extLst>
          </p:cNvPr>
          <p:cNvSpPr/>
          <p:nvPr/>
        </p:nvSpPr>
        <p:spPr>
          <a:xfrm>
            <a:off x="914400" y="713851"/>
            <a:ext cx="7918704" cy="149594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56713B-3823-AC8F-C53B-7FBEB559CCE9}"/>
              </a:ext>
            </a:extLst>
          </p:cNvPr>
          <p:cNvSpPr txBox="1"/>
          <p:nvPr/>
        </p:nvSpPr>
        <p:spPr>
          <a:xfrm>
            <a:off x="996696" y="956643"/>
            <a:ext cx="7754112" cy="1438275"/>
          </a:xfrm>
          <a:prstGeom prst="rect">
            <a:avLst/>
          </a:prstGeom>
          <a:noFill/>
        </p:spPr>
        <p:txBody>
          <a:bodyPr wrap="square" lIns="274320" tIns="182880" anchor="t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Supermarket Floral Department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Thanksgiving 2022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(4 w/e 11/27/22)</a:t>
            </a:r>
            <a:r>
              <a:rPr lang="en-US" sz="2800" dirty="0"/>
              <a:t>)</a:t>
            </a:r>
            <a:endParaRPr lang="en-US" sz="2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7BB635-D725-784E-A5E5-C34E99F07587}"/>
              </a:ext>
            </a:extLst>
          </p:cNvPr>
          <p:cNvSpPr txBox="1"/>
          <p:nvPr/>
        </p:nvSpPr>
        <p:spPr>
          <a:xfrm>
            <a:off x="1219200" y="3505199"/>
            <a:ext cx="6699505" cy="957883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679904-230D-F289-8B36-B3375056DFCD}"/>
              </a:ext>
            </a:extLst>
          </p:cNvPr>
          <p:cNvSpPr txBox="1"/>
          <p:nvPr/>
        </p:nvSpPr>
        <p:spPr>
          <a:xfrm>
            <a:off x="1981200" y="2481417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Dollar sales lower than 20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D42DFD-F68D-7CE3-C818-9F35FA930044}"/>
              </a:ext>
            </a:extLst>
          </p:cNvPr>
          <p:cNvSpPr txBox="1"/>
          <p:nvPr/>
        </p:nvSpPr>
        <p:spPr>
          <a:xfrm>
            <a:off x="1956758" y="3238499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Unit sales lower than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B48B7D-1577-7F32-8C92-111AF959A3B2}"/>
              </a:ext>
            </a:extLst>
          </p:cNvPr>
          <p:cNvSpPr txBox="1"/>
          <p:nvPr/>
        </p:nvSpPr>
        <p:spPr>
          <a:xfrm>
            <a:off x="1948132" y="4126536"/>
            <a:ext cx="6470905" cy="533400"/>
          </a:xfrm>
          <a:prstGeom prst="rect">
            <a:avLst/>
          </a:prstGeom>
          <a:noFill/>
        </p:spPr>
        <p:txBody>
          <a:bodyPr wrap="square" lIns="274320" t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2800" b="1" dirty="0">
                <a:cs typeface="Arial" panose="020B0604020202020204" pitchFamily="34" charset="0"/>
              </a:rPr>
              <a:t>Price increases over 2021 in most categories</a:t>
            </a:r>
          </a:p>
        </p:txBody>
      </p:sp>
    </p:spTree>
    <p:extLst>
      <p:ext uri="{BB962C8B-B14F-4D97-AF65-F5344CB8AC3E}">
        <p14:creationId xmlns:p14="http://schemas.microsoft.com/office/powerpoint/2010/main" val="18679818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C766446-077F-A74D-4286-9A5BA050DD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9548" y="0"/>
            <a:ext cx="4362451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B238EEF-68F8-B990-6804-9B506719C7E2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2E9ABEE-C698-1CF3-02A1-CB3FA1D1F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12CC38-4AD3-955B-2161-8DEC0FD451AE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F70E9-BCA5-44B6-ABEA-8FDB79948B4F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Floral kept its price increase over the holida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0B8CD-7A9A-368B-B680-5CDBAD685B5C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Continue to promote the value of floral to maintain and increase price.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B1CB72C-FE38-D214-C3E5-995DD12736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4879210"/>
              </p:ext>
            </p:extLst>
          </p:nvPr>
        </p:nvGraphicFramePr>
        <p:xfrm>
          <a:off x="838200" y="2285999"/>
          <a:ext cx="5715000" cy="3602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59394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16672D-F614-5BA1-DD42-EC5237D40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7866" y="0"/>
            <a:ext cx="4444134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B238EEF-68F8-B990-6804-9B506719C7E2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2E9ABEE-C698-1CF3-02A1-CB3FA1D1F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12CC38-4AD3-955B-2161-8DEC0FD451AE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Christma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F70E9-BCA5-44B6-ABEA-8FDB79948B4F}"/>
              </a:ext>
            </a:extLst>
          </p:cNvPr>
          <p:cNvSpPr txBox="1"/>
          <p:nvPr/>
        </p:nvSpPr>
        <p:spPr>
          <a:xfrm>
            <a:off x="685800" y="742146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Floral average dollar &amp; unit sales were lower in 2022 than 202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0B8CD-7A9A-368B-B680-5CDBAD685B5C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, pricing strategies, and promotional messaging to increase dollar and unit sales for Christma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68B9323-FE12-6C5F-8065-6F129184A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395724"/>
              </p:ext>
            </p:extLst>
          </p:nvPr>
        </p:nvGraphicFramePr>
        <p:xfrm>
          <a:off x="762000" y="1719927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B20E42E-1054-024E-6428-18A635C999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9766601"/>
              </p:ext>
            </p:extLst>
          </p:nvPr>
        </p:nvGraphicFramePr>
        <p:xfrm>
          <a:off x="762000" y="3320127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20AD55A-C48D-4493-B577-4C4D11BB89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8162947"/>
              </p:ext>
            </p:extLst>
          </p:nvPr>
        </p:nvGraphicFramePr>
        <p:xfrm>
          <a:off x="762000" y="4920327"/>
          <a:ext cx="4902199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784215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b="1" dirty="0">
                <a:solidFill>
                  <a:schemeClr val="accent1"/>
                </a:solidFill>
                <a:latin typeface="Gabriola" panose="04040605051002020D02" pitchFamily="82" charset="0"/>
              </a:rPr>
              <a:t>Research Methodology</a:t>
            </a:r>
          </a:p>
        </p:txBody>
      </p:sp>
      <p:sp>
        <p:nvSpPr>
          <p:cNvPr id="7" name="Rectangle 6"/>
          <p:cNvSpPr/>
          <p:nvPr/>
        </p:nvSpPr>
        <p:spPr>
          <a:xfrm>
            <a:off x="6097528" y="1127179"/>
            <a:ext cx="5789672" cy="4130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625519"/>
            <a:r>
              <a:rPr lang="en-US" b="1" i="1" dirty="0">
                <a:solidFill>
                  <a:schemeClr val="accent1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Background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Floral Department Overview</a:t>
            </a:r>
          </a:p>
          <a:p>
            <a:pPr defTabSz="1625519"/>
            <a:endParaRPr lang="en-US" b="1" i="1" dirty="0">
              <a:solidFill>
                <a:srgbClr val="002776"/>
              </a:solidFill>
              <a:latin typeface="Book Antiqua" panose="02040602050305030304" pitchFamily="18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defTabSz="1625519"/>
            <a:r>
              <a:rPr lang="en-US" b="1" i="1" dirty="0">
                <a:solidFill>
                  <a:schemeClr val="accent1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IRI Reviews DB 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IRI_INTEGRATED_FRESH_MARKET_ADVANTAGE</a:t>
            </a:r>
          </a:p>
          <a:p>
            <a:pPr defTabSz="1625519"/>
            <a:endParaRPr lang="en-US" b="1" i="1" dirty="0">
              <a:solidFill>
                <a:srgbClr val="009FDA"/>
              </a:solidFill>
              <a:latin typeface="Book Antiqua" panose="02040602050305030304" pitchFamily="18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defTabSz="1625519"/>
            <a:r>
              <a:rPr lang="en-US" b="1" i="1" dirty="0">
                <a:solidFill>
                  <a:schemeClr val="accent1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Geography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Total US - Multi Outlet</a:t>
            </a:r>
          </a:p>
          <a:p>
            <a:pPr defTabSz="1625519"/>
            <a:endParaRPr lang="en-US" b="1" i="1" dirty="0">
              <a:solidFill>
                <a:srgbClr val="009FDA"/>
              </a:solidFill>
              <a:latin typeface="Book Antiqua" panose="02040602050305030304" pitchFamily="18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defTabSz="1625519"/>
            <a:r>
              <a:rPr lang="en-US" b="1" i="1" dirty="0">
                <a:solidFill>
                  <a:schemeClr val="accent1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Time Period Custom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“CY 2022 (52 Weeks Ending 01-01-2023)”,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“Thanksgiving Season (4 Weeks Ending 11-27-2022)” and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“Christmas Season (4 Weeks Ending 01-01-2023)”</a:t>
            </a:r>
          </a:p>
          <a:p>
            <a:pPr defTabSz="1625519"/>
            <a:endParaRPr lang="en-US" sz="1600" b="1" i="1" dirty="0">
              <a:solidFill>
                <a:schemeClr val="accent1"/>
              </a:solidFill>
              <a:latin typeface="Book Antiqua" panose="02040602050305030304" pitchFamily="18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defTabSz="1625519"/>
            <a:r>
              <a:rPr lang="en-US" b="1" i="1" dirty="0">
                <a:solidFill>
                  <a:schemeClr val="accent1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Key Aisle</a:t>
            </a:r>
          </a:p>
          <a:p>
            <a:pPr defTabSz="1625519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Floral Aisles and </a:t>
            </a:r>
          </a:p>
          <a:p>
            <a:pPr fontAlgn="ctr"/>
            <a:r>
              <a:rPr lang="en-US" sz="1600" b="1" i="1" dirty="0">
                <a:solidFill>
                  <a:schemeClr val="tx2"/>
                </a:solidFill>
                <a:latin typeface="Book Antiqua" panose="02040602050305030304" pitchFamily="18" charset="0"/>
                <a:ea typeface="Verdana" panose="020B0604030504040204" pitchFamily="34" charset="0"/>
                <a:cs typeface="Calibri" panose="020F0502020204030204" pitchFamily="34" charset="0"/>
              </a:rPr>
              <a:t>Floral Categories (Potted Plant, Rose, Bouquet, Outdoor Plants, Consumer Bunch, Arrangement, Seeds, Bulb, Holiday)</a:t>
            </a:r>
          </a:p>
        </p:txBody>
      </p:sp>
      <p:pic>
        <p:nvPicPr>
          <p:cNvPr id="13" name="Picture 12" descr="Screen Clippi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559751"/>
            <a:ext cx="4399881" cy="4025939"/>
          </a:xfrm>
          <a:prstGeom prst="rect">
            <a:avLst/>
          </a:prstGeom>
        </p:spPr>
      </p:pic>
      <p:pic>
        <p:nvPicPr>
          <p:cNvPr id="14" name="Picture 13" descr="Screen Clippi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6197" y="319277"/>
            <a:ext cx="1288979" cy="130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1129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BA6D03-E540-468F-A293-1ED2D64657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760235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88FE49C-A3E8-C445-F2CD-C2D67E3BC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7945" y="0"/>
            <a:ext cx="4495800" cy="7168253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6520422-CF14-A301-0F26-75CB699FA256}"/>
              </a:ext>
            </a:extLst>
          </p:cNvPr>
          <p:cNvSpPr/>
          <p:nvPr/>
        </p:nvSpPr>
        <p:spPr>
          <a:xfrm>
            <a:off x="7429500" y="2828476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3BBBC2-59BB-A228-AE61-F6DA66A581E3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6CECE494-3042-573B-2E43-47EBAD84E0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6EF8997-8684-DFD3-EF9F-A6A867BD954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1CDF262-8B70-447A-06D2-FC4B2186ADA6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84ED452-5626-3F62-8902-95BB1BA2F01F}"/>
              </a:ext>
            </a:extLst>
          </p:cNvPr>
          <p:cNvSpPr txBox="1"/>
          <p:nvPr/>
        </p:nvSpPr>
        <p:spPr>
          <a:xfrm>
            <a:off x="762000" y="1068245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b="1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Floral continued to lose ground Thanksgiving 2022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B95858-AF33-E9F4-CFC7-154700B467B4}"/>
              </a:ext>
            </a:extLst>
          </p:cNvPr>
          <p:cNvSpPr txBox="1"/>
          <p:nvPr/>
        </p:nvSpPr>
        <p:spPr>
          <a:xfrm>
            <a:off x="7693503" y="2975032"/>
            <a:ext cx="251459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3B445F"/>
                </a:solidFill>
                <a:effectLst/>
              </a:rPr>
              <a:t>Thanksgiving 2022 suffered from an overall decline in base floral sales with less distribution, shelf space, and velocity</a:t>
            </a:r>
            <a:endParaRPr lang="en-US" sz="2400" b="1" dirty="0">
              <a:highlight>
                <a:srgbClr val="FFFF00"/>
              </a:highlight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0B40125-C5AC-D34F-B9DB-15FAF5BFA5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2580391"/>
              </p:ext>
            </p:extLst>
          </p:nvPr>
        </p:nvGraphicFramePr>
        <p:xfrm>
          <a:off x="1606845" y="2041050"/>
          <a:ext cx="3287657" cy="4656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337D512-9463-EB08-4694-2FEB60C512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228053"/>
              </p:ext>
            </p:extLst>
          </p:nvPr>
        </p:nvGraphicFramePr>
        <p:xfrm>
          <a:off x="1645534" y="2028711"/>
          <a:ext cx="3088357" cy="542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456">
                  <a:extLst>
                    <a:ext uri="{9D8B030D-6E8A-4147-A177-3AD203B41FA5}">
                      <a16:colId xmlns:a16="http://schemas.microsoft.com/office/drawing/2014/main" val="2865839233"/>
                    </a:ext>
                  </a:extLst>
                </a:gridCol>
                <a:gridCol w="720967">
                  <a:extLst>
                    <a:ext uri="{9D8B030D-6E8A-4147-A177-3AD203B41FA5}">
                      <a16:colId xmlns:a16="http://schemas.microsoft.com/office/drawing/2014/main" val="825578501"/>
                    </a:ext>
                  </a:extLst>
                </a:gridCol>
                <a:gridCol w="720967">
                  <a:extLst>
                    <a:ext uri="{9D8B030D-6E8A-4147-A177-3AD203B41FA5}">
                      <a16:colId xmlns:a16="http://schemas.microsoft.com/office/drawing/2014/main" val="1030271673"/>
                    </a:ext>
                  </a:extLst>
                </a:gridCol>
                <a:gridCol w="720967">
                  <a:extLst>
                    <a:ext uri="{9D8B030D-6E8A-4147-A177-3AD203B41FA5}">
                      <a16:colId xmlns:a16="http://schemas.microsoft.com/office/drawing/2014/main" val="2671449008"/>
                    </a:ext>
                  </a:extLst>
                </a:gridCol>
              </a:tblGrid>
              <a:tr h="271055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llar</a:t>
                      </a:r>
                      <a:r>
                        <a:rPr lang="en-US" sz="1000" b="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ales</a:t>
                      </a: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433.2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0.8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0478863"/>
                  </a:ext>
                </a:extLst>
              </a:tr>
              <a:tr h="271055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t Sales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42.2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3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0766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2549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>
            <a:extLst>
              <a:ext uri="{FF2B5EF4-FFF2-40B4-BE49-F238E27FC236}">
                <a16:creationId xmlns:a16="http://schemas.microsoft.com/office/drawing/2014/main" id="{22BA38C3-E5B1-3FF9-8408-ECBD6AFED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694" y="0"/>
            <a:ext cx="4336803" cy="68580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6520422-CF14-A301-0F26-75CB699FA256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3B445F"/>
                </a:solidFill>
              </a:rPr>
              <a:t>Manage base sales by offering your most popular products front and center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3BBBC2-59BB-A228-AE61-F6DA66A581E3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6CECE494-3042-573B-2E43-47EBAD84E0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6EF8997-8684-DFD3-EF9F-A6A867BD954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1CDF262-8B70-447A-06D2-FC4B2186ADA6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84ED452-5626-3F62-8902-95BB1BA2F01F}"/>
              </a:ext>
            </a:extLst>
          </p:cNvPr>
          <p:cNvSpPr txBox="1"/>
          <p:nvPr/>
        </p:nvSpPr>
        <p:spPr>
          <a:xfrm>
            <a:off x="643745" y="877206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94.6% of Thanksgiving sales came from base sales which declined by -2.6%</a:t>
            </a:r>
            <a:endParaRPr lang="en-US" sz="2800" b="1" dirty="0"/>
          </a:p>
        </p:txBody>
      </p:sp>
      <p:cxnSp>
        <p:nvCxnSpPr>
          <p:cNvPr id="2" name="Elbow Connector 45">
            <a:extLst>
              <a:ext uri="{FF2B5EF4-FFF2-40B4-BE49-F238E27FC236}">
                <a16:creationId xmlns:a16="http://schemas.microsoft.com/office/drawing/2014/main" id="{1B239A70-284D-9B49-8C98-B3CCC1248E9A}"/>
              </a:ext>
            </a:extLst>
          </p:cNvPr>
          <p:cNvCxnSpPr>
            <a:endCxn id="6" idx="0"/>
          </p:cNvCxnSpPr>
          <p:nvPr/>
        </p:nvCxnSpPr>
        <p:spPr bwMode="gray">
          <a:xfrm rot="16200000" flipH="1">
            <a:off x="1300882" y="4704862"/>
            <a:ext cx="680096" cy="107280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 Same Side Corner Rectangle 4">
            <a:extLst>
              <a:ext uri="{FF2B5EF4-FFF2-40B4-BE49-F238E27FC236}">
                <a16:creationId xmlns:a16="http://schemas.microsoft.com/office/drawing/2014/main" id="{5C211EED-E484-6E9C-8EDC-56407E2D86BB}"/>
              </a:ext>
            </a:extLst>
          </p:cNvPr>
          <p:cNvSpPr/>
          <p:nvPr/>
        </p:nvSpPr>
        <p:spPr bwMode="gray">
          <a:xfrm rot="10800000">
            <a:off x="332794" y="4213444"/>
            <a:ext cx="2076061" cy="226607"/>
          </a:xfrm>
          <a:prstGeom prst="round2Same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5" name="Elbow Connector 6">
            <a:extLst>
              <a:ext uri="{FF2B5EF4-FFF2-40B4-BE49-F238E27FC236}">
                <a16:creationId xmlns:a16="http://schemas.microsoft.com/office/drawing/2014/main" id="{FB454D1A-8A8E-E560-5005-51AA28291D9F}"/>
              </a:ext>
            </a:extLst>
          </p:cNvPr>
          <p:cNvCxnSpPr>
            <a:endCxn id="7" idx="0"/>
          </p:cNvCxnSpPr>
          <p:nvPr/>
        </p:nvCxnSpPr>
        <p:spPr bwMode="gray">
          <a:xfrm rot="5400000" flipH="1" flipV="1">
            <a:off x="1461372" y="3768180"/>
            <a:ext cx="338725" cy="127676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 Same Side Corner Rectangle 7">
            <a:extLst>
              <a:ext uri="{FF2B5EF4-FFF2-40B4-BE49-F238E27FC236}">
                <a16:creationId xmlns:a16="http://schemas.microsoft.com/office/drawing/2014/main" id="{020BE61C-29ED-9D8A-7C60-7B99F7C9DEB5}"/>
              </a:ext>
            </a:extLst>
          </p:cNvPr>
          <p:cNvSpPr/>
          <p:nvPr/>
        </p:nvSpPr>
        <p:spPr bwMode="gray">
          <a:xfrm rot="10800000">
            <a:off x="1694570" y="4966788"/>
            <a:ext cx="2185248" cy="263524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7" name="Round Same Side Corner Rectangle 12">
            <a:extLst>
              <a:ext uri="{FF2B5EF4-FFF2-40B4-BE49-F238E27FC236}">
                <a16:creationId xmlns:a16="http://schemas.microsoft.com/office/drawing/2014/main" id="{893C1B13-6BE2-80D3-EC3F-3AF33A44724C}"/>
              </a:ext>
            </a:extLst>
          </p:cNvPr>
          <p:cNvSpPr/>
          <p:nvPr/>
        </p:nvSpPr>
        <p:spPr bwMode="gray">
          <a:xfrm rot="10800000">
            <a:off x="1694571" y="3530892"/>
            <a:ext cx="2185248" cy="263524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8" name="Round Same Side Corner Rectangle 13">
            <a:extLst>
              <a:ext uri="{FF2B5EF4-FFF2-40B4-BE49-F238E27FC236}">
                <a16:creationId xmlns:a16="http://schemas.microsoft.com/office/drawing/2014/main" id="{D9C0A03B-C48A-9A54-961F-223CFF1B9C75}"/>
              </a:ext>
            </a:extLst>
          </p:cNvPr>
          <p:cNvSpPr/>
          <p:nvPr/>
        </p:nvSpPr>
        <p:spPr bwMode="gray">
          <a:xfrm rot="10800000">
            <a:off x="4142169" y="2799803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9" name="Round Same Side Corner Rectangle 16">
            <a:extLst>
              <a:ext uri="{FF2B5EF4-FFF2-40B4-BE49-F238E27FC236}">
                <a16:creationId xmlns:a16="http://schemas.microsoft.com/office/drawing/2014/main" id="{BB5AEF4A-C0C8-DD7E-A0D0-71367AE7FC8C}"/>
              </a:ext>
            </a:extLst>
          </p:cNvPr>
          <p:cNvSpPr/>
          <p:nvPr/>
        </p:nvSpPr>
        <p:spPr bwMode="gray">
          <a:xfrm rot="10800000">
            <a:off x="4142169" y="3315863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10" name="Round Same Side Corner Rectangle 21">
            <a:extLst>
              <a:ext uri="{FF2B5EF4-FFF2-40B4-BE49-F238E27FC236}">
                <a16:creationId xmlns:a16="http://schemas.microsoft.com/office/drawing/2014/main" id="{704AEE3C-7315-2C6B-4E87-17951B498C9C}"/>
              </a:ext>
            </a:extLst>
          </p:cNvPr>
          <p:cNvSpPr/>
          <p:nvPr/>
        </p:nvSpPr>
        <p:spPr bwMode="gray">
          <a:xfrm rot="10800000">
            <a:off x="4142170" y="3831922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11" name="Round Same Side Corner Rectangle 24">
            <a:extLst>
              <a:ext uri="{FF2B5EF4-FFF2-40B4-BE49-F238E27FC236}">
                <a16:creationId xmlns:a16="http://schemas.microsoft.com/office/drawing/2014/main" id="{F1C3E08A-A27A-5E88-0D7E-F6B95FC6C25A}"/>
              </a:ext>
            </a:extLst>
          </p:cNvPr>
          <p:cNvSpPr/>
          <p:nvPr/>
        </p:nvSpPr>
        <p:spPr bwMode="gray">
          <a:xfrm rot="10800000">
            <a:off x="4142170" y="4418279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12" name="Round Same Side Corner Rectangle 27">
            <a:extLst>
              <a:ext uri="{FF2B5EF4-FFF2-40B4-BE49-F238E27FC236}">
                <a16:creationId xmlns:a16="http://schemas.microsoft.com/office/drawing/2014/main" id="{52151666-60CD-2993-D425-3BF74F1D7120}"/>
              </a:ext>
            </a:extLst>
          </p:cNvPr>
          <p:cNvSpPr/>
          <p:nvPr/>
        </p:nvSpPr>
        <p:spPr bwMode="gray">
          <a:xfrm rot="10800000">
            <a:off x="4142170" y="4934338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13" name="Round Same Side Corner Rectangle 30">
            <a:extLst>
              <a:ext uri="{FF2B5EF4-FFF2-40B4-BE49-F238E27FC236}">
                <a16:creationId xmlns:a16="http://schemas.microsoft.com/office/drawing/2014/main" id="{F82D8D64-51EB-A96B-C8A5-61C7CC0FA96C}"/>
              </a:ext>
            </a:extLst>
          </p:cNvPr>
          <p:cNvSpPr/>
          <p:nvPr/>
        </p:nvSpPr>
        <p:spPr bwMode="gray">
          <a:xfrm rot="10800000">
            <a:off x="4142170" y="5450397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sp>
        <p:nvSpPr>
          <p:cNvPr id="14" name="Round Same Side Corner Rectangle 33">
            <a:extLst>
              <a:ext uri="{FF2B5EF4-FFF2-40B4-BE49-F238E27FC236}">
                <a16:creationId xmlns:a16="http://schemas.microsoft.com/office/drawing/2014/main" id="{2B5FEE92-32C4-789D-C831-A6C1B4CBE62E}"/>
              </a:ext>
            </a:extLst>
          </p:cNvPr>
          <p:cNvSpPr/>
          <p:nvPr/>
        </p:nvSpPr>
        <p:spPr bwMode="gray">
          <a:xfrm rot="10800000">
            <a:off x="4142170" y="5966454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16" name="Elbow Connector 48">
            <a:extLst>
              <a:ext uri="{FF2B5EF4-FFF2-40B4-BE49-F238E27FC236}">
                <a16:creationId xmlns:a16="http://schemas.microsoft.com/office/drawing/2014/main" id="{58620A0D-19AD-59DF-7AA6-6F601223E2EA}"/>
              </a:ext>
            </a:extLst>
          </p:cNvPr>
          <p:cNvCxnSpPr>
            <a:stCxn id="7" idx="2"/>
            <a:endCxn id="8" idx="0"/>
          </p:cNvCxnSpPr>
          <p:nvPr/>
        </p:nvCxnSpPr>
        <p:spPr bwMode="gray">
          <a:xfrm flipV="1">
            <a:off x="3879820" y="2913106"/>
            <a:ext cx="262349" cy="74954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49">
            <a:extLst>
              <a:ext uri="{FF2B5EF4-FFF2-40B4-BE49-F238E27FC236}">
                <a16:creationId xmlns:a16="http://schemas.microsoft.com/office/drawing/2014/main" id="{E503A21C-0419-8E5F-4201-8A3A80F4A915}"/>
              </a:ext>
            </a:extLst>
          </p:cNvPr>
          <p:cNvCxnSpPr>
            <a:stCxn id="10" idx="0"/>
            <a:endCxn id="7" idx="2"/>
          </p:cNvCxnSpPr>
          <p:nvPr/>
        </p:nvCxnSpPr>
        <p:spPr bwMode="gray">
          <a:xfrm rot="10800000">
            <a:off x="3879821" y="3662654"/>
            <a:ext cx="262351" cy="28257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51">
            <a:extLst>
              <a:ext uri="{FF2B5EF4-FFF2-40B4-BE49-F238E27FC236}">
                <a16:creationId xmlns:a16="http://schemas.microsoft.com/office/drawing/2014/main" id="{705D2943-41C2-C429-35B5-A159BC0784C4}"/>
              </a:ext>
            </a:extLst>
          </p:cNvPr>
          <p:cNvCxnSpPr>
            <a:stCxn id="6" idx="2"/>
            <a:endCxn id="11" idx="0"/>
          </p:cNvCxnSpPr>
          <p:nvPr/>
        </p:nvCxnSpPr>
        <p:spPr bwMode="gray">
          <a:xfrm flipV="1">
            <a:off x="3879818" y="4531582"/>
            <a:ext cx="262352" cy="5669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52">
            <a:extLst>
              <a:ext uri="{FF2B5EF4-FFF2-40B4-BE49-F238E27FC236}">
                <a16:creationId xmlns:a16="http://schemas.microsoft.com/office/drawing/2014/main" id="{957724EF-242C-AC65-BB0E-B95E81724F63}"/>
              </a:ext>
            </a:extLst>
          </p:cNvPr>
          <p:cNvCxnSpPr>
            <a:stCxn id="14" idx="0"/>
            <a:endCxn id="6" idx="2"/>
          </p:cNvCxnSpPr>
          <p:nvPr/>
        </p:nvCxnSpPr>
        <p:spPr bwMode="gray">
          <a:xfrm rot="10800000">
            <a:off x="3879818" y="5098550"/>
            <a:ext cx="262352" cy="98120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53">
            <a:extLst>
              <a:ext uri="{FF2B5EF4-FFF2-40B4-BE49-F238E27FC236}">
                <a16:creationId xmlns:a16="http://schemas.microsoft.com/office/drawing/2014/main" id="{AB765A63-8A02-C7E6-7A3F-D79F3C400C6F}"/>
              </a:ext>
            </a:extLst>
          </p:cNvPr>
          <p:cNvCxnSpPr>
            <a:stCxn id="6" idx="2"/>
            <a:endCxn id="12" idx="0"/>
          </p:cNvCxnSpPr>
          <p:nvPr/>
        </p:nvCxnSpPr>
        <p:spPr>
          <a:xfrm flipV="1">
            <a:off x="3879818" y="5047640"/>
            <a:ext cx="262352" cy="5091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4">
            <a:extLst>
              <a:ext uri="{FF2B5EF4-FFF2-40B4-BE49-F238E27FC236}">
                <a16:creationId xmlns:a16="http://schemas.microsoft.com/office/drawing/2014/main" id="{34A9814A-63F6-8660-BF81-D6B261604580}"/>
              </a:ext>
            </a:extLst>
          </p:cNvPr>
          <p:cNvCxnSpPr>
            <a:stCxn id="6" idx="2"/>
            <a:endCxn id="13" idx="0"/>
          </p:cNvCxnSpPr>
          <p:nvPr/>
        </p:nvCxnSpPr>
        <p:spPr>
          <a:xfrm>
            <a:off x="3879818" y="5098551"/>
            <a:ext cx="262352" cy="46514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74">
            <a:extLst>
              <a:ext uri="{FF2B5EF4-FFF2-40B4-BE49-F238E27FC236}">
                <a16:creationId xmlns:a16="http://schemas.microsoft.com/office/drawing/2014/main" id="{FA7DD112-07A6-7E17-ACAE-2FC074384019}"/>
              </a:ext>
            </a:extLst>
          </p:cNvPr>
          <p:cNvCxnSpPr>
            <a:stCxn id="7" idx="2"/>
            <a:endCxn id="23" idx="0"/>
          </p:cNvCxnSpPr>
          <p:nvPr/>
        </p:nvCxnSpPr>
        <p:spPr bwMode="gray">
          <a:xfrm flipV="1">
            <a:off x="3879820" y="2397046"/>
            <a:ext cx="262349" cy="1265608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ound Same Side Corner Rectangle 75">
            <a:extLst>
              <a:ext uri="{FF2B5EF4-FFF2-40B4-BE49-F238E27FC236}">
                <a16:creationId xmlns:a16="http://schemas.microsoft.com/office/drawing/2014/main" id="{7A69DB8F-0042-44D2-7213-A19A81C596DD}"/>
              </a:ext>
            </a:extLst>
          </p:cNvPr>
          <p:cNvSpPr/>
          <p:nvPr/>
        </p:nvSpPr>
        <p:spPr bwMode="gray">
          <a:xfrm rot="10800000">
            <a:off x="4142169" y="2283744"/>
            <a:ext cx="2076061" cy="226607"/>
          </a:xfrm>
          <a:prstGeom prst="round2Same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prstClr val="white"/>
              </a:solidFill>
              <a:ea typeface="Verdana"/>
              <a:cs typeface="Verdana"/>
            </a:endParaRPr>
          </a:p>
        </p:txBody>
      </p:sp>
      <p:cxnSp>
        <p:nvCxnSpPr>
          <p:cNvPr id="24" name="Elbow Connector 80">
            <a:extLst>
              <a:ext uri="{FF2B5EF4-FFF2-40B4-BE49-F238E27FC236}">
                <a16:creationId xmlns:a16="http://schemas.microsoft.com/office/drawing/2014/main" id="{37456B2C-6EAF-EB54-D89F-B60C55FA825D}"/>
              </a:ext>
            </a:extLst>
          </p:cNvPr>
          <p:cNvCxnSpPr>
            <a:stCxn id="9" idx="0"/>
            <a:endCxn id="7" idx="2"/>
          </p:cNvCxnSpPr>
          <p:nvPr/>
        </p:nvCxnSpPr>
        <p:spPr bwMode="gray">
          <a:xfrm rot="10800000" flipV="1">
            <a:off x="3879820" y="3429165"/>
            <a:ext cx="262349" cy="23348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 Same Side Corner Rectangle 3">
            <a:extLst>
              <a:ext uri="{FF2B5EF4-FFF2-40B4-BE49-F238E27FC236}">
                <a16:creationId xmlns:a16="http://schemas.microsoft.com/office/drawing/2014/main" id="{2AD89084-2BA2-2B6B-E0C3-1580757CB470}"/>
              </a:ext>
            </a:extLst>
          </p:cNvPr>
          <p:cNvSpPr/>
          <p:nvPr/>
        </p:nvSpPr>
        <p:spPr bwMode="gray">
          <a:xfrm>
            <a:off x="332794" y="3994289"/>
            <a:ext cx="2076061" cy="219154"/>
          </a:xfrm>
          <a:prstGeom prst="round2Same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llar Sales</a:t>
            </a:r>
          </a:p>
        </p:txBody>
      </p:sp>
      <p:sp>
        <p:nvSpPr>
          <p:cNvPr id="27" name="Round Same Side Corner Rectangle 8">
            <a:extLst>
              <a:ext uri="{FF2B5EF4-FFF2-40B4-BE49-F238E27FC236}">
                <a16:creationId xmlns:a16="http://schemas.microsoft.com/office/drawing/2014/main" id="{FFC6D55A-733B-7176-09DA-ED2DEE7B4863}"/>
              </a:ext>
            </a:extLst>
          </p:cNvPr>
          <p:cNvSpPr/>
          <p:nvPr/>
        </p:nvSpPr>
        <p:spPr bwMode="gray">
          <a:xfrm>
            <a:off x="1694570" y="4747635"/>
            <a:ext cx="2185248" cy="254857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se Sales</a:t>
            </a:r>
          </a:p>
        </p:txBody>
      </p:sp>
      <p:sp>
        <p:nvSpPr>
          <p:cNvPr id="28" name="Round Same Side Corner Rectangle 10">
            <a:extLst>
              <a:ext uri="{FF2B5EF4-FFF2-40B4-BE49-F238E27FC236}">
                <a16:creationId xmlns:a16="http://schemas.microsoft.com/office/drawing/2014/main" id="{AA1F74DA-D20D-00B8-DF66-A5F9B9E02A94}"/>
              </a:ext>
            </a:extLst>
          </p:cNvPr>
          <p:cNvSpPr/>
          <p:nvPr/>
        </p:nvSpPr>
        <p:spPr bwMode="gray">
          <a:xfrm>
            <a:off x="1694571" y="3311739"/>
            <a:ext cx="2185248" cy="254857"/>
          </a:xfrm>
          <a:prstGeom prst="round2SameRect">
            <a:avLst/>
          </a:prstGeom>
          <a:solidFill>
            <a:schemeClr val="accent6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cremental Sales</a:t>
            </a:r>
          </a:p>
        </p:txBody>
      </p:sp>
      <p:sp>
        <p:nvSpPr>
          <p:cNvPr id="29" name="Round Same Side Corner Rectangle 14">
            <a:extLst>
              <a:ext uri="{FF2B5EF4-FFF2-40B4-BE49-F238E27FC236}">
                <a16:creationId xmlns:a16="http://schemas.microsoft.com/office/drawing/2014/main" id="{7E792C2D-E2D5-249A-A0C4-1446B76E4D74}"/>
              </a:ext>
            </a:extLst>
          </p:cNvPr>
          <p:cNvSpPr/>
          <p:nvPr/>
        </p:nvSpPr>
        <p:spPr bwMode="gray">
          <a:xfrm>
            <a:off x="4142169" y="2580648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eeks of Support</a:t>
            </a:r>
          </a:p>
        </p:txBody>
      </p:sp>
      <p:sp>
        <p:nvSpPr>
          <p:cNvPr id="30" name="Round Same Side Corner Rectangle 17">
            <a:extLst>
              <a:ext uri="{FF2B5EF4-FFF2-40B4-BE49-F238E27FC236}">
                <a16:creationId xmlns:a16="http://schemas.microsoft.com/office/drawing/2014/main" id="{A9315B87-0C1B-3A2B-02A6-98700171C1EA}"/>
              </a:ext>
            </a:extLst>
          </p:cNvPr>
          <p:cNvSpPr/>
          <p:nvPr/>
        </p:nvSpPr>
        <p:spPr bwMode="gray">
          <a:xfrm>
            <a:off x="4142169" y="3096707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% Dollars, Any Merch</a:t>
            </a:r>
          </a:p>
        </p:txBody>
      </p:sp>
      <p:sp>
        <p:nvSpPr>
          <p:cNvPr id="31" name="Round Same Side Corner Rectangle 22">
            <a:extLst>
              <a:ext uri="{FF2B5EF4-FFF2-40B4-BE49-F238E27FC236}">
                <a16:creationId xmlns:a16="http://schemas.microsoft.com/office/drawing/2014/main" id="{327C09A9-CBD1-1D4B-65EC-505AC4B3600C}"/>
              </a:ext>
            </a:extLst>
          </p:cNvPr>
          <p:cNvSpPr/>
          <p:nvPr/>
        </p:nvSpPr>
        <p:spPr bwMode="gray">
          <a:xfrm>
            <a:off x="4142169" y="3612766"/>
            <a:ext cx="2076061" cy="224735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mo Price/Unit</a:t>
            </a:r>
          </a:p>
        </p:txBody>
      </p:sp>
      <p:sp>
        <p:nvSpPr>
          <p:cNvPr id="32" name="Round Same Side Corner Rectangle 25">
            <a:extLst>
              <a:ext uri="{FF2B5EF4-FFF2-40B4-BE49-F238E27FC236}">
                <a16:creationId xmlns:a16="http://schemas.microsoft.com/office/drawing/2014/main" id="{9859DBC6-407D-F365-566D-28AB92BDCBC9}"/>
              </a:ext>
            </a:extLst>
          </p:cNvPr>
          <p:cNvSpPr/>
          <p:nvPr/>
        </p:nvSpPr>
        <p:spPr bwMode="gray">
          <a:xfrm>
            <a:off x="4142169" y="4199124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POD</a:t>
            </a:r>
          </a:p>
        </p:txBody>
      </p:sp>
      <p:sp>
        <p:nvSpPr>
          <p:cNvPr id="33" name="Round Same Side Corner Rectangle 28">
            <a:extLst>
              <a:ext uri="{FF2B5EF4-FFF2-40B4-BE49-F238E27FC236}">
                <a16:creationId xmlns:a16="http://schemas.microsoft.com/office/drawing/2014/main" id="{B3B4FCE7-7BB3-5614-E11E-F7C18BD33F13}"/>
              </a:ext>
            </a:extLst>
          </p:cNvPr>
          <p:cNvSpPr/>
          <p:nvPr/>
        </p:nvSpPr>
        <p:spPr bwMode="gray">
          <a:xfrm>
            <a:off x="4142169" y="4715183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eekly Items/Store</a:t>
            </a:r>
          </a:p>
        </p:txBody>
      </p:sp>
      <p:sp>
        <p:nvSpPr>
          <p:cNvPr id="34" name="Round Same Side Corner Rectangle 31">
            <a:extLst>
              <a:ext uri="{FF2B5EF4-FFF2-40B4-BE49-F238E27FC236}">
                <a16:creationId xmlns:a16="http://schemas.microsoft.com/office/drawing/2014/main" id="{4C3A53EC-D0F1-5353-5BDB-E230D0AE78CB}"/>
              </a:ext>
            </a:extLst>
          </p:cNvPr>
          <p:cNvSpPr/>
          <p:nvPr/>
        </p:nvSpPr>
        <p:spPr bwMode="gray">
          <a:xfrm>
            <a:off x="4142169" y="5231242"/>
            <a:ext cx="2076061" cy="224736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se Price/Unit</a:t>
            </a:r>
          </a:p>
        </p:txBody>
      </p:sp>
      <p:sp>
        <p:nvSpPr>
          <p:cNvPr id="35" name="Round Same Side Corner Rectangle 34">
            <a:extLst>
              <a:ext uri="{FF2B5EF4-FFF2-40B4-BE49-F238E27FC236}">
                <a16:creationId xmlns:a16="http://schemas.microsoft.com/office/drawing/2014/main" id="{4615F2CB-9194-5B43-333D-0536B74301F3}"/>
              </a:ext>
            </a:extLst>
          </p:cNvPr>
          <p:cNvSpPr/>
          <p:nvPr/>
        </p:nvSpPr>
        <p:spPr bwMode="gray">
          <a:xfrm>
            <a:off x="4142169" y="5747299"/>
            <a:ext cx="2076061" cy="219154"/>
          </a:xfrm>
          <a:prstGeom prst="round2SameRect">
            <a:avLst/>
          </a:prstGeom>
          <a:solidFill>
            <a:schemeClr val="accent3"/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vg. Wkly Base $/$MM ACV</a:t>
            </a:r>
          </a:p>
        </p:txBody>
      </p:sp>
      <p:sp>
        <p:nvSpPr>
          <p:cNvPr id="36" name="Round Same Side Corner Rectangle 76">
            <a:extLst>
              <a:ext uri="{FF2B5EF4-FFF2-40B4-BE49-F238E27FC236}">
                <a16:creationId xmlns:a16="http://schemas.microsoft.com/office/drawing/2014/main" id="{9F431B4D-9F18-137C-D2E4-D8252C3BD0E8}"/>
              </a:ext>
            </a:extLst>
          </p:cNvPr>
          <p:cNvSpPr/>
          <p:nvPr/>
        </p:nvSpPr>
        <p:spPr bwMode="gray">
          <a:xfrm>
            <a:off x="4142169" y="2064589"/>
            <a:ext cx="2076061" cy="219154"/>
          </a:xfrm>
          <a:prstGeom prst="round2SameRect">
            <a:avLst/>
          </a:prstGeom>
          <a:solidFill>
            <a:schemeClr val="accent6">
              <a:lumMod val="75000"/>
              <a:lumOff val="2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$ Trade Efficiency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919B31C4-99C4-AC23-855F-F1A1BA6C1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446227"/>
              </p:ext>
            </p:extLst>
          </p:nvPr>
        </p:nvGraphicFramePr>
        <p:xfrm>
          <a:off x="311036" y="4156385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433.2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0.8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CE3EE4B4-9E8D-55DD-A885-064C2AB0EB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970437"/>
              </p:ext>
            </p:extLst>
          </p:nvPr>
        </p:nvGraphicFramePr>
        <p:xfrm>
          <a:off x="1758658" y="3495087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23.5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$0.2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7987666E-5EDE-E68E-6975-B6A30B7C41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920349"/>
              </p:ext>
            </p:extLst>
          </p:nvPr>
        </p:nvGraphicFramePr>
        <p:xfrm>
          <a:off x="1758658" y="4940800"/>
          <a:ext cx="2097819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99273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86241247"/>
                    </a:ext>
                  </a:extLst>
                </a:gridCol>
                <a:gridCol w="699273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409.6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1.0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4FFF4D99-225D-3E34-1421-19D964824B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357526"/>
              </p:ext>
            </p:extLst>
          </p:nvPr>
        </p:nvGraphicFramePr>
        <p:xfrm>
          <a:off x="4495800" y="2216747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3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1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ECB533C0-A92A-C115-107B-469683E044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848619"/>
              </p:ext>
            </p:extLst>
          </p:nvPr>
        </p:nvGraphicFramePr>
        <p:xfrm>
          <a:off x="4495800" y="2720840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1wk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542BABA-54A1-3FD0-BCA2-868B1C4642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9195745"/>
              </p:ext>
            </p:extLst>
          </p:nvPr>
        </p:nvGraphicFramePr>
        <p:xfrm>
          <a:off x="4495800" y="3266010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1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.1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F0FA314C-DD01-0B51-442C-2FE17ECC3B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190890"/>
              </p:ext>
            </p:extLst>
          </p:nvPr>
        </p:nvGraphicFramePr>
        <p:xfrm>
          <a:off x="4495800" y="3766807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8.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B727D884-4D42-541A-44CC-DB24B0DF42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437442"/>
              </p:ext>
            </p:extLst>
          </p:nvPr>
        </p:nvGraphicFramePr>
        <p:xfrm>
          <a:off x="4495800" y="4363647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8,9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619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B86E824F-308D-53C6-D346-4F95F8F92F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398178"/>
              </p:ext>
            </p:extLst>
          </p:nvPr>
        </p:nvGraphicFramePr>
        <p:xfrm>
          <a:off x="4495800" y="4879847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5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7p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4" name="Table 53">
            <a:extLst>
              <a:ext uri="{FF2B5EF4-FFF2-40B4-BE49-F238E27FC236}">
                <a16:creationId xmlns:a16="http://schemas.microsoft.com/office/drawing/2014/main" id="{BE79CB2A-6B94-DF8E-6E82-0C722785C2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009658"/>
              </p:ext>
            </p:extLst>
          </p:nvPr>
        </p:nvGraphicFramePr>
        <p:xfrm>
          <a:off x="4495800" y="5397968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11.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F8AFE7C5-1513-DD38-69E4-1C311BA588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942192"/>
              </p:ext>
            </p:extLst>
          </p:nvPr>
        </p:nvGraphicFramePr>
        <p:xfrm>
          <a:off x="4495800" y="5916089"/>
          <a:ext cx="1296102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51">
                  <a:extLst>
                    <a:ext uri="{9D8B030D-6E8A-4147-A177-3AD203B41FA5}">
                      <a16:colId xmlns:a16="http://schemas.microsoft.com/office/drawing/2014/main" val="3664474212"/>
                    </a:ext>
                  </a:extLst>
                </a:gridCol>
                <a:gridCol w="648051">
                  <a:extLst>
                    <a:ext uri="{9D8B030D-6E8A-4147-A177-3AD203B41FA5}">
                      <a16:colId xmlns:a16="http://schemas.microsoft.com/office/drawing/2014/main" val="1052910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effectLst/>
                          <a:latin typeface="Arial" panose="020B0604020202020204" pitchFamily="34" charset="0"/>
                        </a:rPr>
                        <a:t>$7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7632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8923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875C0A7-A027-92A5-8DC0-85EB64767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1834" y="0"/>
            <a:ext cx="4400166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580C2EF-430A-ACC7-7EA5-DD4929597673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Lean in on wellness trends to maintain and grow sales in potted plants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D310433-6DE7-4ACC-BCC7-1A63FD549F89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EEA6F88-03E7-B355-24CA-DD8A19BAF4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773DF54-D744-56C5-58FA-CDCC8D19EA2A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3B8FCB-5E80-0D7B-523B-287E51BDBD34}"/>
              </a:ext>
            </a:extLst>
          </p:cNvPr>
          <p:cNvSpPr/>
          <p:nvPr/>
        </p:nvSpPr>
        <p:spPr>
          <a:xfrm>
            <a:off x="609600" y="838200"/>
            <a:ext cx="8534400" cy="9906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65D66C-E660-FD0B-A16D-0F5DCD76C083}"/>
              </a:ext>
            </a:extLst>
          </p:cNvPr>
          <p:cNvSpPr txBox="1"/>
          <p:nvPr/>
        </p:nvSpPr>
        <p:spPr>
          <a:xfrm>
            <a:off x="762000" y="880954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b="1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Potted plants while still 3</a:t>
            </a:r>
            <a:r>
              <a:rPr lang="en-US" sz="2800" b="1" baseline="30000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rd</a:t>
            </a:r>
            <a:r>
              <a:rPr lang="en-US" sz="2800" b="1" dirty="0">
                <a:ea typeface="Open Sans Condensed bold" panose="020B0806030504020204" pitchFamily="34" charset="0"/>
                <a:cs typeface="Open Sans Condensed bold" panose="020B0806030504020204" pitchFamily="34" charset="0"/>
              </a:rPr>
              <a:t> in dollar sales suffered large dollar &amp; volume declines compared to 2021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D1F81568-211D-17A9-241E-D49C14236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607854"/>
              </p:ext>
            </p:extLst>
          </p:nvPr>
        </p:nvGraphicFramePr>
        <p:xfrm>
          <a:off x="441849" y="1981200"/>
          <a:ext cx="6701361" cy="4216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641">
                  <a:extLst>
                    <a:ext uri="{9D8B030D-6E8A-4147-A177-3AD203B41FA5}">
                      <a16:colId xmlns:a16="http://schemas.microsoft.com/office/drawing/2014/main" val="2534025249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1846932754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3977649698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41780125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49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678419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Dollar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Sales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 (MM)</a:t>
                      </a:r>
                    </a:p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Unit Sales</a:t>
                      </a:r>
                    </a:p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(MM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Avg. </a:t>
                      </a:r>
                      <a:r>
                        <a:rPr lang="en-US" sz="1000" b="1" baseline="0" dirty="0" err="1">
                          <a:solidFill>
                            <a:schemeClr val="bg1"/>
                          </a:solidFill>
                          <a:latin typeface="+mn-lt"/>
                        </a:rPr>
                        <a:t>wkly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$MM ACV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Chg vs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YA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Price/ Un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% Chg vs YA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% Dollar, Any Mer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Chg vs Y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575465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Bouqu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9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9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3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76307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Ro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8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7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1.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8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381613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Potted 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79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2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8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5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9.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8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40762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Arran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6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6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29.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2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41304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Consumer B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6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3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6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384225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Holi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14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4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1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18.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482290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Outdoor 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1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0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6.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3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Bul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$4.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4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9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060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+mn-lt"/>
                        </a:rPr>
                        <a:t>Se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9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3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$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effectLst/>
                          <a:latin typeface="Arial" panose="020B0604020202020204" pitchFamily="34" charset="0"/>
                        </a:rPr>
                        <a:t>$1.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4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effectLst/>
                          <a:latin typeface="Arial" panose="020B0604020202020204" pitchFamily="34" charset="0"/>
                        </a:rPr>
                        <a:t>1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650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7344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IY Thanksgiving Centerpiece - Simple Joy">
            <a:extLst>
              <a:ext uri="{FF2B5EF4-FFF2-40B4-BE49-F238E27FC236}">
                <a16:creationId xmlns:a16="http://schemas.microsoft.com/office/drawing/2014/main" id="{8761307F-A6B4-B3ED-E50E-AF270325B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700" y="-15618"/>
            <a:ext cx="45593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Notched Right Arrow 31">
            <a:extLst>
              <a:ext uri="{FF2B5EF4-FFF2-40B4-BE49-F238E27FC236}">
                <a16:creationId xmlns:a16="http://schemas.microsoft.com/office/drawing/2014/main" id="{B20A4416-D123-6836-B5FE-AE45CD77CC1B}"/>
              </a:ext>
            </a:extLst>
          </p:cNvPr>
          <p:cNvSpPr/>
          <p:nvPr/>
        </p:nvSpPr>
        <p:spPr>
          <a:xfrm rot="5400000" flipV="1">
            <a:off x="494150" y="3557391"/>
            <a:ext cx="3949458" cy="1005840"/>
          </a:xfrm>
          <a:prstGeom prst="notchedRightArrow">
            <a:avLst>
              <a:gd name="adj1" fmla="val 50000"/>
              <a:gd name="adj2" fmla="val 3393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Verdana"/>
              <a:cs typeface="Verdana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103FD2A-C8A1-BFB7-C35E-0C292CCB8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541180"/>
              </p:ext>
            </p:extLst>
          </p:nvPr>
        </p:nvGraphicFramePr>
        <p:xfrm>
          <a:off x="1371600" y="2209800"/>
          <a:ext cx="5312664" cy="3108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500824737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1567692501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498988512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2100698778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379245186"/>
                    </a:ext>
                  </a:extLst>
                </a:gridCol>
                <a:gridCol w="493776">
                  <a:extLst>
                    <a:ext uri="{9D8B030D-6E8A-4147-A177-3AD203B41FA5}">
                      <a16:colId xmlns:a16="http://schemas.microsoft.com/office/drawing/2014/main" val="302604106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 YA</a:t>
                      </a: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$MM)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effectLst/>
                        <a:latin typeface="+mj-lt"/>
                      </a:endParaRPr>
                    </a:p>
                    <a:p>
                      <a:pPr algn="ctr" fontAlgn="b"/>
                      <a:r>
                        <a:rPr lang="en-US" sz="800" b="1" i="0" u="none" strike="noStrike" dirty="0">
                          <a:effectLst/>
                          <a:latin typeface="+mj-lt"/>
                        </a:rPr>
                        <a:t>Dol</a:t>
                      </a:r>
                      <a:r>
                        <a:rPr lang="en-US" sz="800" b="1" i="0" u="none" strike="noStrike" baseline="0" dirty="0">
                          <a:effectLst/>
                          <a:latin typeface="+mj-lt"/>
                        </a:rPr>
                        <a:t> Sales</a:t>
                      </a:r>
                    </a:p>
                    <a:p>
                      <a:pPr algn="ctr" fontAlgn="b"/>
                      <a:r>
                        <a:rPr lang="en-US" sz="800" b="1" i="0" u="none" strike="noStrike" baseline="0" dirty="0">
                          <a:effectLst/>
                          <a:latin typeface="+mj-lt"/>
                        </a:rPr>
                        <a:t>($MM)</a:t>
                      </a:r>
                      <a:endParaRPr lang="en-US" sz="8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POD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t.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Base Price/ Unit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mo Price 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g vs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YA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Arrangeme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0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65.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606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72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31.5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7.3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30.5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.8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Outdoor Pla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0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0.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704.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9.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7.4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5.5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.1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3573269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Bulb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0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3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3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617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85.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5.6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7.3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4.0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2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6149698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Seed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1.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9.5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26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93.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.5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50.8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0.2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9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719186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Holiday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2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4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4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28.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6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9.0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1.4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4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4492308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Potted Plan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$11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79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12.6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2,676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602.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0.1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1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8.1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7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9448865"/>
                  </a:ext>
                </a:extLst>
              </a:tr>
            </a:tbl>
          </a:graphicData>
        </a:graphic>
      </p:graphicFrame>
      <p:sp>
        <p:nvSpPr>
          <p:cNvPr id="11" name="NumberBall">
            <a:extLst>
              <a:ext uri="{FF2B5EF4-FFF2-40B4-BE49-F238E27FC236}">
                <a16:creationId xmlns:a16="http://schemas.microsoft.com/office/drawing/2014/main" id="{EAD84EEA-A997-1B3E-643E-348066F8A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2910840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1</a:t>
            </a:r>
          </a:p>
        </p:txBody>
      </p:sp>
      <p:sp>
        <p:nvSpPr>
          <p:cNvPr id="12" name="NumberBall">
            <a:extLst>
              <a:ext uri="{FF2B5EF4-FFF2-40B4-BE49-F238E27FC236}">
                <a16:creationId xmlns:a16="http://schemas.microsoft.com/office/drawing/2014/main" id="{CF3EE696-E676-7C78-9CB2-6B552FD50B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3368040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2</a:t>
            </a:r>
          </a:p>
        </p:txBody>
      </p:sp>
      <p:sp>
        <p:nvSpPr>
          <p:cNvPr id="13" name="NumberBall">
            <a:extLst>
              <a:ext uri="{FF2B5EF4-FFF2-40B4-BE49-F238E27FC236}">
                <a16:creationId xmlns:a16="http://schemas.microsoft.com/office/drawing/2014/main" id="{ECBCB1D1-4E52-C99B-D248-23C9712A20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3811543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3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  <p:sp>
        <p:nvSpPr>
          <p:cNvPr id="14" name="NumberBall">
            <a:extLst>
              <a:ext uri="{FF2B5EF4-FFF2-40B4-BE49-F238E27FC236}">
                <a16:creationId xmlns:a16="http://schemas.microsoft.com/office/drawing/2014/main" id="{23B91CC8-7421-A9D1-86AE-4C6B37DB0D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4206240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rgbClr val="FFFFFF"/>
                </a:solidFill>
                <a:latin typeface="Arial" panose="020B0604020202020204"/>
                <a:ea typeface="Verdana"/>
                <a:cs typeface="Verdana" pitchFamily="34" charset="0"/>
              </a:rPr>
              <a:t>4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/>
              <a:cs typeface="Verdana" pitchFamily="34" charset="0"/>
            </a:endParaRPr>
          </a:p>
        </p:txBody>
      </p:sp>
      <p:sp>
        <p:nvSpPr>
          <p:cNvPr id="15" name="NumberBall">
            <a:extLst>
              <a:ext uri="{FF2B5EF4-FFF2-40B4-BE49-F238E27FC236}">
                <a16:creationId xmlns:a16="http://schemas.microsoft.com/office/drawing/2014/main" id="{F24F2BD0-5400-61FE-3391-13E78794AA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4627757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5</a:t>
            </a:r>
          </a:p>
        </p:txBody>
      </p:sp>
      <p:sp>
        <p:nvSpPr>
          <p:cNvPr id="16" name="NumberBall">
            <a:extLst>
              <a:ext uri="{FF2B5EF4-FFF2-40B4-BE49-F238E27FC236}">
                <a16:creationId xmlns:a16="http://schemas.microsoft.com/office/drawing/2014/main" id="{FA4758ED-331B-BBF7-89F2-00A4E9524F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3460" y="5022454"/>
            <a:ext cx="18288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6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483525C-12ED-B752-AF64-1BD71E031B9E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Offering arrangements at various price points allows consumers to find room in their budget for this Thanksgiving favorit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16FEE8A-9DD1-DCA4-9E0F-91472B1B0A68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757CB70-0172-295C-9C49-8E4644BD7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3D410EA-E87B-3BDD-0FAB-4F4008B4C3CD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3E4ACC-76D5-4D26-5C47-2DB1B13E065A}"/>
              </a:ext>
            </a:extLst>
          </p:cNvPr>
          <p:cNvSpPr txBox="1"/>
          <p:nvPr/>
        </p:nvSpPr>
        <p:spPr>
          <a:xfrm>
            <a:off x="685800" y="969911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Arrangements declined in dollar sales as consumers pulled back in spending</a:t>
            </a:r>
          </a:p>
        </p:txBody>
      </p:sp>
    </p:spTree>
    <p:extLst>
      <p:ext uri="{BB962C8B-B14F-4D97-AF65-F5344CB8AC3E}">
        <p14:creationId xmlns:p14="http://schemas.microsoft.com/office/powerpoint/2010/main" val="691277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SPRING TABLESCAPES | Thanksgiving floral arrangements, Thanksgiving  flowers, Thanksgiving floral">
            <a:extLst>
              <a:ext uri="{FF2B5EF4-FFF2-40B4-BE49-F238E27FC236}">
                <a16:creationId xmlns:a16="http://schemas.microsoft.com/office/drawing/2014/main" id="{44FDCC70-5847-0357-C558-E9F57829B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200" y="-22860"/>
            <a:ext cx="4622800" cy="688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483525C-12ED-B752-AF64-1BD71E031B9E}"/>
              </a:ext>
            </a:extLst>
          </p:cNvPr>
          <p:cNvSpPr/>
          <p:nvPr/>
        </p:nvSpPr>
        <p:spPr>
          <a:xfrm>
            <a:off x="6629400" y="2368550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As roses continue in popularity, highlight this product in unique bouquets and arrangements to advance those sales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16FEE8A-9DD1-DCA4-9E0F-91472B1B0A68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757CB70-0172-295C-9C49-8E4644BD7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3D410EA-E87B-3BDD-0FAB-4F4008B4C3CD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3E4ACC-76D5-4D26-5C47-2DB1B13E065A}"/>
              </a:ext>
            </a:extLst>
          </p:cNvPr>
          <p:cNvSpPr txBox="1"/>
          <p:nvPr/>
        </p:nvSpPr>
        <p:spPr>
          <a:xfrm>
            <a:off x="685800" y="969911"/>
            <a:ext cx="8077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Rose was the only category to increase in dolla</a:t>
            </a:r>
            <a:r>
              <a:rPr lang="en-US" sz="2800" b="1" dirty="0"/>
              <a:t>r and volume sales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2" name="Notched Right Arrow 102">
            <a:extLst>
              <a:ext uri="{FF2B5EF4-FFF2-40B4-BE49-F238E27FC236}">
                <a16:creationId xmlns:a16="http://schemas.microsoft.com/office/drawing/2014/main" id="{B3A7B041-28D6-5D21-08D7-45D2840F4C4B}"/>
              </a:ext>
            </a:extLst>
          </p:cNvPr>
          <p:cNvSpPr/>
          <p:nvPr/>
        </p:nvSpPr>
        <p:spPr>
          <a:xfrm rot="16200000">
            <a:off x="-431249" y="3633591"/>
            <a:ext cx="3949458" cy="1005840"/>
          </a:xfrm>
          <a:prstGeom prst="notchedRightArrow">
            <a:avLst>
              <a:gd name="adj1" fmla="val 50000"/>
              <a:gd name="adj2" fmla="val 33931"/>
            </a:avLst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Verdana"/>
              <a:cs typeface="Verdana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3BD0BFD-8E6B-FDD2-601C-2D6E691F4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133852"/>
              </p:ext>
            </p:extLst>
          </p:nvPr>
        </p:nvGraphicFramePr>
        <p:xfrm>
          <a:off x="438150" y="2286000"/>
          <a:ext cx="5303522" cy="1874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66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1335018197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2432539170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872743414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3692828676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2390252413"/>
                    </a:ext>
                  </a:extLst>
                </a:gridCol>
                <a:gridCol w="492984">
                  <a:extLst>
                    <a:ext uri="{9D8B030D-6E8A-4147-A177-3AD203B41FA5}">
                      <a16:colId xmlns:a16="http://schemas.microsoft.com/office/drawing/2014/main" val="3376165298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 YA</a:t>
                      </a:r>
                    </a:p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$MM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en-US" sz="800" b="1" i="0" u="none" strike="noStrike" dirty="0">
                          <a:effectLst/>
                          <a:latin typeface="+mn-lt"/>
                        </a:rPr>
                        <a:t>Dol</a:t>
                      </a:r>
                      <a:r>
                        <a:rPr lang="en-US" sz="800" b="1" i="0" u="none" strike="noStrike" baseline="0" dirty="0">
                          <a:effectLst/>
                          <a:latin typeface="+mn-lt"/>
                        </a:rPr>
                        <a:t> Sales</a:t>
                      </a:r>
                    </a:p>
                    <a:p>
                      <a:pPr algn="ctr" fontAlgn="b"/>
                      <a:r>
                        <a:rPr lang="en-US" sz="800" b="1" i="0" u="none" strike="noStrike" baseline="0" dirty="0">
                          <a:effectLst/>
                          <a:latin typeface="+mn-lt"/>
                        </a:rPr>
                        <a:t>($MM)</a:t>
                      </a:r>
                      <a:endParaRPr lang="en-US" sz="8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POD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t.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se Price/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hg vs Y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 Pri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g vs</a:t>
                      </a:r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A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Rose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3.3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81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4.3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1,005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6.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12.88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5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9.0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-0.15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Bouquet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1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92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1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1,243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2.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3.5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5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11.2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.0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943009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Consumer Bunch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+$0.9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63.2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.4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1,423.4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121.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effectLst/>
                          <a:latin typeface="Arial" panose="020B0604020202020204" pitchFamily="34" charset="0"/>
                        </a:rPr>
                        <a:t>$6.47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7.1%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effectLst/>
                          <a:latin typeface="Arial" panose="020B0604020202020204" pitchFamily="34" charset="0"/>
                        </a:rPr>
                        <a:t>$5.56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+0.60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97068"/>
                  </a:ext>
                </a:extLst>
              </a:tr>
            </a:tbl>
          </a:graphicData>
        </a:graphic>
      </p:graphicFrame>
      <p:sp>
        <p:nvSpPr>
          <p:cNvPr id="6" name="NumberBall">
            <a:extLst>
              <a:ext uri="{FF2B5EF4-FFF2-40B4-BE49-F238E27FC236}">
                <a16:creationId xmlns:a16="http://schemas.microsoft.com/office/drawing/2014/main" id="{928B4BFA-5EFC-140C-D2C2-2DDAFF150CF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002" y="3032760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1</a:t>
            </a:r>
          </a:p>
        </p:txBody>
      </p:sp>
      <p:sp>
        <p:nvSpPr>
          <p:cNvPr id="7" name="NumberBall">
            <a:extLst>
              <a:ext uri="{FF2B5EF4-FFF2-40B4-BE49-F238E27FC236}">
                <a16:creationId xmlns:a16="http://schemas.microsoft.com/office/drawing/2014/main" id="{FD1D5AB1-79A3-187A-2C49-B1B7A22981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002" y="3444240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2</a:t>
            </a:r>
          </a:p>
        </p:txBody>
      </p:sp>
      <p:sp>
        <p:nvSpPr>
          <p:cNvPr id="8" name="NumberBall">
            <a:extLst>
              <a:ext uri="{FF2B5EF4-FFF2-40B4-BE49-F238E27FC236}">
                <a16:creationId xmlns:a16="http://schemas.microsoft.com/office/drawing/2014/main" id="{F2CA2141-4CBD-F8AB-EFA4-9D225FA83F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487" y="3855720"/>
            <a:ext cx="182881" cy="182880"/>
          </a:xfrm>
          <a:prstGeom prst="ellipse">
            <a:avLst/>
          </a:prstGeom>
          <a:solidFill>
            <a:schemeClr val="accent6">
              <a:lumMod val="75000"/>
              <a:lumOff val="25000"/>
            </a:schemeClr>
          </a:solidFill>
          <a:ln w="3175" algn="ctr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Verdana"/>
                <a:cs typeface="Verdan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09746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D8605B8-EB98-AB77-6DEF-6D586097E2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1824" y="0"/>
            <a:ext cx="4460940" cy="6858000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86E83F9-53F1-3A65-7200-BDEF445562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9293724"/>
              </p:ext>
            </p:extLst>
          </p:nvPr>
        </p:nvGraphicFramePr>
        <p:xfrm>
          <a:off x="381000" y="1905000"/>
          <a:ext cx="6696075" cy="418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1FA740B5-60DC-A2AF-93C1-2B16BCBC97E5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E8C805-A880-FE1E-A6E8-492A226727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AAE686B-C3F7-6123-CBBF-B819C22C2BB5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82B1F2-0E44-5981-CCFC-5A79595F5C30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Dollar sales declined from 2021 but held over 202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34C037-6D0E-C72E-4532-2F142FF241BB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 to keep continue growing dollar sales.</a:t>
            </a:r>
          </a:p>
        </p:txBody>
      </p:sp>
    </p:spTree>
    <p:extLst>
      <p:ext uri="{BB962C8B-B14F-4D97-AF65-F5344CB8AC3E}">
        <p14:creationId xmlns:p14="http://schemas.microsoft.com/office/powerpoint/2010/main" val="1437195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2A075C-1D0A-450B-C54D-782DB8530D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8112" y="0"/>
            <a:ext cx="4427247" cy="6858000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3CAD56A-4903-30CF-889A-E14BD9E308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4582929"/>
              </p:ext>
            </p:extLst>
          </p:nvPr>
        </p:nvGraphicFramePr>
        <p:xfrm>
          <a:off x="533400" y="2209800"/>
          <a:ext cx="5948363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B9D24FE3-8C02-AAAD-70D9-97FF5D9F7AAE}"/>
              </a:ext>
            </a:extLst>
          </p:cNvPr>
          <p:cNvSpPr/>
          <p:nvPr/>
        </p:nvSpPr>
        <p:spPr>
          <a:xfrm>
            <a:off x="1962149" y="295592"/>
            <a:ext cx="685800" cy="685800"/>
          </a:xfrm>
          <a:prstGeom prst="ellipse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965E8E1-62C6-F9C8-971C-79555453C1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304800"/>
            <a:ext cx="2362200" cy="6858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2486B5-4D98-B477-6428-01677F6C921F}"/>
              </a:ext>
            </a:extLst>
          </p:cNvPr>
          <p:cNvSpPr txBox="1"/>
          <p:nvPr/>
        </p:nvSpPr>
        <p:spPr>
          <a:xfrm>
            <a:off x="438150" y="411725"/>
            <a:ext cx="2133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000" i="1" dirty="0"/>
              <a:t>Thanksgiv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F81AC9-9EE5-82F6-F36C-60681836F6D2}"/>
              </a:ext>
            </a:extLst>
          </p:cNvPr>
          <p:cNvSpPr txBox="1"/>
          <p:nvPr/>
        </p:nvSpPr>
        <p:spPr>
          <a:xfrm>
            <a:off x="685800" y="969911"/>
            <a:ext cx="807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Unit sales dropped to 2020 level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5357FD-7D80-4A39-1A4D-92847F077A61}"/>
              </a:ext>
            </a:extLst>
          </p:cNvPr>
          <p:cNvSpPr/>
          <p:nvPr/>
        </p:nvSpPr>
        <p:spPr>
          <a:xfrm>
            <a:off x="7261199" y="2371408"/>
            <a:ext cx="2819400" cy="33401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Review product assortment and discounts to grow unit sales.</a:t>
            </a:r>
          </a:p>
        </p:txBody>
      </p:sp>
    </p:spTree>
    <p:extLst>
      <p:ext uri="{BB962C8B-B14F-4D97-AF65-F5344CB8AC3E}">
        <p14:creationId xmlns:p14="http://schemas.microsoft.com/office/powerpoint/2010/main" val="3417553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hxdHXCQJmRHz8LwNY4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u8k6sqSKKbUTc29.iE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u8k6sqSKKbUTc29.iE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hxdHXCQJmRHz8LwNY4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u8k6sqSKKbUTc29.iE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u8k6sqSKKbUTc29.iE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hxdHXCQJmRHz8LwNY4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IRI Template Redesign - 2018 - 16.9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1_IRI Template Redesign - 2018 - 16.9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2_IRI Template Redesign - 2018 - 16.9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3404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Custom 21">
      <a:dk1>
        <a:srgbClr val="434043"/>
      </a:dk1>
      <a:lt1>
        <a:sysClr val="window" lastClr="FFFFFF"/>
      </a:lt1>
      <a:dk2>
        <a:srgbClr val="8FBDAB"/>
      </a:dk2>
      <a:lt2>
        <a:srgbClr val="FFFFFF"/>
      </a:lt2>
      <a:accent1>
        <a:srgbClr val="E89D3B"/>
      </a:accent1>
      <a:accent2>
        <a:srgbClr val="ADE0BC"/>
      </a:accent2>
      <a:accent3>
        <a:srgbClr val="FCD192"/>
      </a:accent3>
      <a:accent4>
        <a:srgbClr val="8FBDAB"/>
      </a:accent4>
      <a:accent5>
        <a:srgbClr val="434043"/>
      </a:accent5>
      <a:accent6>
        <a:srgbClr val="00635F"/>
      </a:accent6>
      <a:hlink>
        <a:srgbClr val="E89D3B"/>
      </a:hlink>
      <a:folHlink>
        <a:srgbClr val="E89D3B"/>
      </a:folHlink>
    </a:clrScheme>
    <a:fontScheme name="Twilight">
      <a:majorFont>
        <a:latin typeface="Corbel"/>
        <a:ea typeface=""/>
        <a:cs typeface=""/>
        <a:font script="Jpan" typeface="ヒラギノ角ゴ Pro W3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ヒラギノ角ゴ Pro W3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34</TotalTime>
  <Words>2506</Words>
  <Application>Microsoft Office PowerPoint</Application>
  <PresentationFormat>Widescreen</PresentationFormat>
  <Paragraphs>741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0" baseType="lpstr">
      <vt:lpstr>-apple-system</vt:lpstr>
      <vt:lpstr>Arial</vt:lpstr>
      <vt:lpstr>Avenir Next LT Pro</vt:lpstr>
      <vt:lpstr>Book Antiqua</vt:lpstr>
      <vt:lpstr>Calibri</vt:lpstr>
      <vt:lpstr>Corbel</vt:lpstr>
      <vt:lpstr>Courier New</vt:lpstr>
      <vt:lpstr>Gabriola</vt:lpstr>
      <vt:lpstr>Open Sans bold  </vt:lpstr>
      <vt:lpstr>Poppins</vt:lpstr>
      <vt:lpstr>Wingdings</vt:lpstr>
      <vt:lpstr>10_IRI Template Redesign - 2018 - 16.9</vt:lpstr>
      <vt:lpstr>11_IRI Template Redesign - 2018 - 16.9</vt:lpstr>
      <vt:lpstr>12_IRI Template Redesign - 2018 - 16.9</vt:lpstr>
      <vt:lpstr>templat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Methodology</vt:lpstr>
      <vt:lpstr>Thank You!</vt:lpstr>
    </vt:vector>
  </TitlesOfParts>
  <Company>Genpa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mandinger, Kate</dc:creator>
  <cp:lastModifiedBy>Gina Jones</cp:lastModifiedBy>
  <cp:revision>2541</cp:revision>
  <dcterms:created xsi:type="dcterms:W3CDTF">2018-11-13T07:39:39Z</dcterms:created>
  <dcterms:modified xsi:type="dcterms:W3CDTF">2023-02-28T18:06:30Z</dcterms:modified>
</cp:coreProperties>
</file>